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1" r:id="rId1"/>
  </p:sldMasterIdLst>
  <p:sldIdLst>
    <p:sldId id="997" r:id="rId2"/>
  </p:sldIdLst>
  <p:sldSz cx="12192000" cy="6858000"/>
  <p:notesSz cx="6858000" cy="9144000"/>
  <p:defaultTextStyle>
    <a:defPPr>
      <a:defRPr lang="en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249"/>
    <p:restoredTop sz="96327"/>
  </p:normalViewPr>
  <p:slideViewPr>
    <p:cSldViewPr snapToGrid="0">
      <p:cViewPr varScale="1">
        <p:scale>
          <a:sx n="88" d="100"/>
          <a:sy n="88" d="100"/>
        </p:scale>
        <p:origin x="208" y="28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5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10.png"/><Relationship Id="rId5" Type="http://schemas.openxmlformats.org/officeDocument/2006/relationships/image" Target="../media/image13.jpg"/><Relationship Id="rId4" Type="http://schemas.openxmlformats.org/officeDocument/2006/relationships/image" Target="../media/image1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10.png"/><Relationship Id="rId5" Type="http://schemas.openxmlformats.org/officeDocument/2006/relationships/image" Target="../media/image13.jpg"/><Relationship Id="rId4" Type="http://schemas.openxmlformats.org/officeDocument/2006/relationships/image" Target="../media/image12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7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microsoft.com/office/2007/relationships/hdphoto" Target="../media/hdphoto2.wdp"/><Relationship Id="rId5" Type="http://schemas.openxmlformats.org/officeDocument/2006/relationships/image" Target="../media/image14.png"/><Relationship Id="rId4" Type="http://schemas.openxmlformats.org/officeDocument/2006/relationships/image" Target="../media/image1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microsoft.com/office/2007/relationships/hdphoto" Target="../media/hdphoto2.wdp"/><Relationship Id="rId5" Type="http://schemas.openxmlformats.org/officeDocument/2006/relationships/image" Target="../media/image14.png"/><Relationship Id="rId4" Type="http://schemas.openxmlformats.org/officeDocument/2006/relationships/image" Target="../media/image1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5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4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5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8.png"/><Relationship Id="rId5" Type="http://schemas.openxmlformats.org/officeDocument/2006/relationships/image" Target="../media/image6.jpeg"/><Relationship Id="rId4" Type="http://schemas.openxmlformats.org/officeDocument/2006/relationships/image" Target="../media/image1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5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6365A37-EBC7-3757-EA9A-C01E0CECC7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635301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6365A37-EBC7-3757-EA9A-C01E0CECC7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3E626CEC-3DDC-C0A9-E8F6-AC8A5F52F6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15307"/>
          <a:stretch/>
        </p:blipFill>
        <p:spPr>
          <a:xfrm>
            <a:off x="0" y="-1"/>
            <a:ext cx="12192000" cy="6858001"/>
          </a:xfrm>
          <a:prstGeom prst="rect">
            <a:avLst/>
          </a:prstGeom>
          <a:ln>
            <a:noFill/>
          </a:ln>
        </p:spPr>
      </p:pic>
      <p:sp>
        <p:nvSpPr>
          <p:cNvPr id="11" name="Freihandform 10">
            <a:extLst>
              <a:ext uri="{FF2B5EF4-FFF2-40B4-BE49-F238E27FC236}">
                <a16:creationId xmlns:a16="http://schemas.microsoft.com/office/drawing/2014/main" id="{30E5F3E0-95D7-3BCC-CEF7-C59E27F651CC}"/>
              </a:ext>
            </a:extLst>
          </p:cNvPr>
          <p:cNvSpPr/>
          <p:nvPr userDrawn="1"/>
        </p:nvSpPr>
        <p:spPr bwMode="auto">
          <a:xfrm>
            <a:off x="0" y="-1"/>
            <a:ext cx="7843372" cy="6858001"/>
          </a:xfrm>
          <a:custGeom>
            <a:avLst/>
            <a:gdLst>
              <a:gd name="connsiteX0" fmla="*/ 0 w 7843372"/>
              <a:gd name="connsiteY0" fmla="*/ 0 h 6838731"/>
              <a:gd name="connsiteX1" fmla="*/ 5354401 w 7843372"/>
              <a:gd name="connsiteY1" fmla="*/ 0 h 6838731"/>
              <a:gd name="connsiteX2" fmla="*/ 5359200 w 7843372"/>
              <a:gd name="connsiteY2" fmla="*/ 13186 h 6838731"/>
              <a:gd name="connsiteX3" fmla="*/ 5359200 w 7843372"/>
              <a:gd name="connsiteY3" fmla="*/ 13529 h 6838731"/>
              <a:gd name="connsiteX4" fmla="*/ 7843372 w 7843372"/>
              <a:gd name="connsiteY4" fmla="*/ 6838731 h 6838731"/>
              <a:gd name="connsiteX5" fmla="*/ 0 w 7843372"/>
              <a:gd name="connsiteY5" fmla="*/ 6838731 h 6838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43372" h="6838731">
                <a:moveTo>
                  <a:pt x="0" y="0"/>
                </a:moveTo>
                <a:lnTo>
                  <a:pt x="5354401" y="0"/>
                </a:lnTo>
                <a:lnTo>
                  <a:pt x="5359200" y="13186"/>
                </a:lnTo>
                <a:lnTo>
                  <a:pt x="5359200" y="13529"/>
                </a:lnTo>
                <a:lnTo>
                  <a:pt x="7843372" y="6838731"/>
                </a:lnTo>
                <a:lnTo>
                  <a:pt x="0" y="6838731"/>
                </a:lnTo>
                <a:close/>
              </a:path>
            </a:pathLst>
          </a:custGeom>
          <a:solidFill>
            <a:srgbClr val="FF6400">
              <a:alpha val="69804"/>
            </a:srgb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3D233555-CD1A-8502-3142-EF7A33B8E2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5600" y="3991326"/>
            <a:ext cx="6292800" cy="756000"/>
          </a:xfrm>
        </p:spPr>
        <p:txBody>
          <a:bodyPr vert="horz" anchor="b">
            <a:normAutofit/>
          </a:bodyPr>
          <a:lstStyle>
            <a:lvl1pPr algn="l">
              <a:defRPr sz="44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8" name="Untertitel 2">
            <a:extLst>
              <a:ext uri="{FF2B5EF4-FFF2-40B4-BE49-F238E27FC236}">
                <a16:creationId xmlns:a16="http://schemas.microsoft.com/office/drawing/2014/main" id="{8F6E3F72-42EA-4E24-D860-E1A0EFA5423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5600" y="4795838"/>
            <a:ext cx="6292800" cy="756000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>
                <a:solidFill>
                  <a:schemeClr val="bg2"/>
                </a:solidFill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C89FB808-91A2-E3A9-A086-68422E6E27C8}"/>
              </a:ext>
            </a:extLst>
          </p:cNvPr>
          <p:cNvSpPr/>
          <p:nvPr userDrawn="1"/>
        </p:nvSpPr>
        <p:spPr>
          <a:xfrm>
            <a:off x="345600" y="3928746"/>
            <a:ext cx="914400" cy="45719"/>
          </a:xfrm>
          <a:prstGeom prst="rect">
            <a:avLst/>
          </a:prstGeom>
          <a:solidFill>
            <a:srgbClr val="FF64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44497C51-3BBE-9E97-7D32-832F511983A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1394" y="95367"/>
            <a:ext cx="1394588" cy="512415"/>
          </a:xfrm>
          <a:prstGeom prst="rect">
            <a:avLst/>
          </a:prstGeom>
        </p:spPr>
      </p:pic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E844732E-38D1-2045-5B3C-57F8D7F29A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242433" y="6218642"/>
            <a:ext cx="3562949" cy="273708"/>
          </a:xfrm>
          <a:prstGeom prst="rect">
            <a:avLst/>
          </a:prstGeom>
        </p:spPr>
        <p:txBody>
          <a:bodyPr/>
          <a:lstStyle>
            <a:lvl1pPr algn="ctr">
              <a:defRPr sz="900">
                <a:solidFill>
                  <a:schemeClr val="accent5"/>
                </a:solidFill>
                <a:latin typeface="+mn-lt"/>
              </a:defRPr>
            </a:lvl1pPr>
          </a:lstStyle>
          <a:p>
            <a:r>
              <a:rPr lang="de-DE" dirty="0"/>
              <a:t>fuks e.V. Karlsruhe 2022</a:t>
            </a:r>
            <a:br>
              <a:rPr lang="de-DE" dirty="0"/>
            </a:br>
            <a:r>
              <a:rPr lang="de-DE" dirty="0"/>
              <a:t>Dieses Dokument ist nur für den direkten Empfänger bestimmt und ohne Erläuterungen durch einen unserer Berater nur bedingt aussagefähig!</a:t>
            </a:r>
          </a:p>
        </p:txBody>
      </p:sp>
    </p:spTree>
    <p:extLst>
      <p:ext uri="{BB962C8B-B14F-4D97-AF65-F5344CB8AC3E}">
        <p14:creationId xmlns:p14="http://schemas.microsoft.com/office/powerpoint/2010/main" val="3034008713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ldener Schnit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474E5B-208D-4EDA-8B7F-E395D0FB33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7924224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046">
          <p15:clr>
            <a:srgbClr val="FBAE40"/>
          </p15:clr>
        </p15:guide>
        <p15:guide id="2" pos="2933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ldener Schnit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474E5B-208D-4EDA-8B7F-E395D0FB33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2495887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747">
          <p15:clr>
            <a:srgbClr val="FBAE40"/>
          </p15:clr>
        </p15:guide>
        <p15:guide id="2" pos="4634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ldener Schnitt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ED1CC22-B499-4027-9F67-79C38A52BD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9983067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704">
          <p15:clr>
            <a:srgbClr val="FBAE40"/>
          </p15:clr>
        </p15:guide>
        <p15:guide id="2" orient="horz" pos="281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ldener Schnitt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ED1CC22-B499-4027-9F67-79C38A52BD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1619733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956">
          <p15:clr>
            <a:srgbClr val="FBAE40"/>
          </p15:clr>
        </p15:guide>
        <p15:guide id="2" orient="horz" pos="206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F5DC95-D202-46B3-1715-0ED18F28B2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8019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AF5DC95-D202-46B3-1715-0ED18F28B2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1">
            <a:extLst>
              <a:ext uri="{FF2B5EF4-FFF2-40B4-BE49-F238E27FC236}">
                <a16:creationId xmlns:a16="http://schemas.microsoft.com/office/drawing/2014/main" id="{DF769567-871B-C843-D496-5E83AD72B8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537" y="429911"/>
            <a:ext cx="11510501" cy="756962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06858597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717">
          <p15:clr>
            <a:srgbClr val="FBAE40"/>
          </p15:clr>
        </p15:guide>
        <p15:guide id="2" pos="4626">
          <p15:clr>
            <a:srgbClr val="FBAE40"/>
          </p15:clr>
        </p15:guide>
        <p15:guide id="3" orient="horz" pos="2319">
          <p15:clr>
            <a:srgbClr val="FBAE40"/>
          </p15:clr>
        </p15:guide>
        <p15:guide id="4" orient="horz" pos="2228">
          <p15:clr>
            <a:srgbClr val="FBAE40"/>
          </p15:clr>
        </p15:guide>
        <p15:guide id="5" pos="529">
          <p15:clr>
            <a:srgbClr val="FBAE40"/>
          </p15:clr>
        </p15:guide>
        <p15:guide id="7" pos="1633">
          <p15:clr>
            <a:srgbClr val="FBAE40"/>
          </p15:clr>
        </p15:guide>
        <p15:guide id="8" pos="3084">
          <p15:clr>
            <a:srgbClr val="FBAE40"/>
          </p15:clr>
        </p15:guide>
        <p15:guide id="9" pos="317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slide 1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4A9EC87-C3C7-A5D6-B953-915437AD6F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1980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4A9EC87-C3C7-A5D6-B953-915437AD6F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 descr="Ein Bild, das Boden, Weg, mehrere enthält.&#10;&#10;Automatisch generierte Beschreibung">
            <a:extLst>
              <a:ext uri="{FF2B5EF4-FFF2-40B4-BE49-F238E27FC236}">
                <a16:creationId xmlns:a16="http://schemas.microsoft.com/office/drawing/2014/main" id="{7AEE514B-094C-9376-1671-0D4C2C553A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353" r="2748" b="5313"/>
          <a:stretch/>
        </p:blipFill>
        <p:spPr>
          <a:xfrm>
            <a:off x="0" y="0"/>
            <a:ext cx="12192000" cy="6858001"/>
          </a:xfrm>
          <a:prstGeom prst="rect">
            <a:avLst/>
          </a:prstGeom>
          <a:solidFill>
            <a:srgbClr val="000000">
              <a:alpha val="50196"/>
            </a:srgbClr>
          </a:solidFill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D5AB517-C6A8-A791-9B37-4BF417B20303}"/>
              </a:ext>
            </a:extLst>
          </p:cNvPr>
          <p:cNvSpPr/>
          <p:nvPr userDrawn="1"/>
        </p:nvSpPr>
        <p:spPr bwMode="auto">
          <a:xfrm>
            <a:off x="0" y="0"/>
            <a:ext cx="12192000" cy="6858001"/>
          </a:xfrm>
          <a:prstGeom prst="rect">
            <a:avLst/>
          </a:prstGeom>
          <a:solidFill>
            <a:srgbClr val="000000">
              <a:alpha val="60000"/>
            </a:srgbClr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4" name="Grafik 3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B12509A2-542C-01C0-1588-AE8BFC39BE6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1394" y="95367"/>
            <a:ext cx="1394588" cy="512415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F9435B5C-E095-A162-0713-6A66AECCE15F}"/>
              </a:ext>
            </a:extLst>
          </p:cNvPr>
          <p:cNvSpPr txBox="1"/>
          <p:nvPr userDrawn="1"/>
        </p:nvSpPr>
        <p:spPr bwMode="auto">
          <a:xfrm>
            <a:off x="2199084" y="2535550"/>
            <a:ext cx="7793832" cy="1237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72000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</a:pP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„Wir wollen nicht nur überzeugen,</a:t>
            </a:r>
          </a:p>
          <a:p>
            <a:pPr marL="72000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</a:pP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sondern unsere Kunden begeistern“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10DE31F9-91FE-067D-385C-93F8F913A03F}"/>
              </a:ext>
            </a:extLst>
          </p:cNvPr>
          <p:cNvSpPr txBox="1"/>
          <p:nvPr userDrawn="1"/>
        </p:nvSpPr>
        <p:spPr bwMode="auto">
          <a:xfrm>
            <a:off x="334963" y="6308725"/>
            <a:ext cx="11522074" cy="3659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72000" algn="ctr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</a:pPr>
            <a:r>
              <a:rPr lang="de-DE" sz="1400" i="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fuks e.V. | Waldhornstraße 27 | 76131 Karlsruhe | Tel. 0721 / 3842313 | kontakt@fuks.org | www.fuks.org  </a:t>
            </a:r>
          </a:p>
        </p:txBody>
      </p:sp>
    </p:spTree>
    <p:extLst>
      <p:ext uri="{BB962C8B-B14F-4D97-AF65-F5344CB8AC3E}">
        <p14:creationId xmlns:p14="http://schemas.microsoft.com/office/powerpoint/2010/main" val="3248456290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slide 1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4A9EC87-C3C7-A5D6-B953-915437AD6F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1980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4A9EC87-C3C7-A5D6-B953-915437AD6F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 descr="Ein Bild, das Boden, Weg, mehrere enthält.&#10;&#10;Automatisch generierte Beschreibung">
            <a:extLst>
              <a:ext uri="{FF2B5EF4-FFF2-40B4-BE49-F238E27FC236}">
                <a16:creationId xmlns:a16="http://schemas.microsoft.com/office/drawing/2014/main" id="{7AEE514B-094C-9376-1671-0D4C2C553A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353" r="2748" b="5313"/>
          <a:stretch/>
        </p:blipFill>
        <p:spPr>
          <a:xfrm>
            <a:off x="0" y="0"/>
            <a:ext cx="12192000" cy="6858001"/>
          </a:xfrm>
          <a:prstGeom prst="rect">
            <a:avLst/>
          </a:prstGeom>
          <a:solidFill>
            <a:srgbClr val="000000">
              <a:alpha val="50196"/>
            </a:srgbClr>
          </a:solidFill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D5AB517-C6A8-A791-9B37-4BF417B20303}"/>
              </a:ext>
            </a:extLst>
          </p:cNvPr>
          <p:cNvSpPr/>
          <p:nvPr userDrawn="1"/>
        </p:nvSpPr>
        <p:spPr bwMode="auto">
          <a:xfrm>
            <a:off x="0" y="0"/>
            <a:ext cx="12192000" cy="6858001"/>
          </a:xfrm>
          <a:prstGeom prst="rect">
            <a:avLst/>
          </a:prstGeom>
          <a:solidFill>
            <a:srgbClr val="000000">
              <a:alpha val="60000"/>
            </a:srgbClr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4" name="Grafik 3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B12509A2-542C-01C0-1588-AE8BFC39BE6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1394" y="95367"/>
            <a:ext cx="1394588" cy="512415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F9435B5C-E095-A162-0713-6A66AECCE15F}"/>
              </a:ext>
            </a:extLst>
          </p:cNvPr>
          <p:cNvSpPr txBox="1"/>
          <p:nvPr userDrawn="1"/>
        </p:nvSpPr>
        <p:spPr bwMode="auto">
          <a:xfrm>
            <a:off x="2199084" y="2535550"/>
            <a:ext cx="7793832" cy="1237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72000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</a:pP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„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We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do not just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want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o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satisfy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our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ustomers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we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want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o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delight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hem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“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48D36B1-8259-C3C0-82A0-2BF742AE4382}"/>
              </a:ext>
            </a:extLst>
          </p:cNvPr>
          <p:cNvSpPr txBox="1"/>
          <p:nvPr userDrawn="1"/>
        </p:nvSpPr>
        <p:spPr bwMode="auto">
          <a:xfrm>
            <a:off x="334963" y="6308725"/>
            <a:ext cx="11522074" cy="3659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72000" algn="ctr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</a:pPr>
            <a:r>
              <a:rPr lang="de-DE" sz="1400" i="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fuks e.V. | Waldhornstraße 27 | 76131 Karlsruhe | Tel. 0721 / 3842313 | kontakt@fuks.org | www.fuks.org  </a:t>
            </a:r>
          </a:p>
        </p:txBody>
      </p:sp>
    </p:spTree>
    <p:extLst>
      <p:ext uri="{BB962C8B-B14F-4D97-AF65-F5344CB8AC3E}">
        <p14:creationId xmlns:p14="http://schemas.microsoft.com/office/powerpoint/2010/main" val="3341867916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slide 2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4A9EC87-C3C7-A5D6-B953-915437AD6F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1529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4A9EC87-C3C7-A5D6-B953-915437AD6F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 descr="Ein Bild, das Baum, draußen, Boden, Gras enthält.&#10;&#10;Automatisch generierte Beschreibung">
            <a:extLst>
              <a:ext uri="{FF2B5EF4-FFF2-40B4-BE49-F238E27FC236}">
                <a16:creationId xmlns:a16="http://schemas.microsoft.com/office/drawing/2014/main" id="{28B077B3-B6E2-5F79-2CFA-1C2225DED8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5625"/>
          <a:stretch/>
        </p:blipFill>
        <p:spPr>
          <a:xfrm>
            <a:off x="-1" y="0"/>
            <a:ext cx="12191999" cy="6858000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250AA93F-D9B1-1BB2-11E0-93917A485F4D}"/>
              </a:ext>
            </a:extLst>
          </p:cNvPr>
          <p:cNvSpPr/>
          <p:nvPr userDrawn="1"/>
        </p:nvSpPr>
        <p:spPr bwMode="auto">
          <a:xfrm>
            <a:off x="0" y="0"/>
            <a:ext cx="12192000" cy="6858001"/>
          </a:xfrm>
          <a:prstGeom prst="rect">
            <a:avLst/>
          </a:prstGeom>
          <a:solidFill>
            <a:srgbClr val="000000">
              <a:alpha val="60000"/>
            </a:srgbClr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6DAE6A76-3AB5-7A9A-D6F5-555A53150007}"/>
              </a:ext>
            </a:extLst>
          </p:cNvPr>
          <p:cNvSpPr txBox="1"/>
          <p:nvPr userDrawn="1"/>
        </p:nvSpPr>
        <p:spPr bwMode="auto">
          <a:xfrm>
            <a:off x="2199084" y="2535550"/>
            <a:ext cx="7793832" cy="1237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72000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</a:pP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„Wir wollen nicht nur überzeugen,</a:t>
            </a:r>
          </a:p>
          <a:p>
            <a:pPr marL="72000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</a:pP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sondern unsere Kunden begeistern“</a:t>
            </a:r>
          </a:p>
        </p:txBody>
      </p:sp>
      <p:pic>
        <p:nvPicPr>
          <p:cNvPr id="12" name="Grafik 11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85E44635-CEC4-1B89-84D8-659E74FC89B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1394" y="95367"/>
            <a:ext cx="1394588" cy="512415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43472240-A6E8-15BE-6C32-F27743422A13}"/>
              </a:ext>
            </a:extLst>
          </p:cNvPr>
          <p:cNvSpPr txBox="1"/>
          <p:nvPr userDrawn="1"/>
        </p:nvSpPr>
        <p:spPr bwMode="auto">
          <a:xfrm>
            <a:off x="334963" y="6308725"/>
            <a:ext cx="11522074" cy="3659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72000" algn="ctr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</a:pPr>
            <a:r>
              <a:rPr lang="de-DE" sz="1400" i="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fuks e.V. | Waldhornstraße 27 | 76131 Karlsruhe | Tel. 0721 / 3842313 | kontakt@fuks.org | www.fuks.org  </a:t>
            </a:r>
          </a:p>
        </p:txBody>
      </p:sp>
    </p:spTree>
    <p:extLst>
      <p:ext uri="{BB962C8B-B14F-4D97-AF65-F5344CB8AC3E}">
        <p14:creationId xmlns:p14="http://schemas.microsoft.com/office/powerpoint/2010/main" val="3776971032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slide 2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4A9EC87-C3C7-A5D6-B953-915437AD6F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1529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4A9EC87-C3C7-A5D6-B953-915437AD6F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 descr="Ein Bild, das Baum, draußen, Boden, Gras enthält.&#10;&#10;Automatisch generierte Beschreibung">
            <a:extLst>
              <a:ext uri="{FF2B5EF4-FFF2-40B4-BE49-F238E27FC236}">
                <a16:creationId xmlns:a16="http://schemas.microsoft.com/office/drawing/2014/main" id="{28B077B3-B6E2-5F79-2CFA-1C2225DED8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5625"/>
          <a:stretch/>
        </p:blipFill>
        <p:spPr>
          <a:xfrm>
            <a:off x="-1" y="0"/>
            <a:ext cx="12191999" cy="6858000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250AA93F-D9B1-1BB2-11E0-93917A485F4D}"/>
              </a:ext>
            </a:extLst>
          </p:cNvPr>
          <p:cNvSpPr/>
          <p:nvPr userDrawn="1"/>
        </p:nvSpPr>
        <p:spPr bwMode="auto">
          <a:xfrm>
            <a:off x="0" y="0"/>
            <a:ext cx="12192000" cy="6858001"/>
          </a:xfrm>
          <a:prstGeom prst="rect">
            <a:avLst/>
          </a:prstGeom>
          <a:solidFill>
            <a:srgbClr val="000000">
              <a:alpha val="60000"/>
            </a:srgbClr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B0CD144-9435-A73D-16C6-BA6DC692A070}"/>
              </a:ext>
            </a:extLst>
          </p:cNvPr>
          <p:cNvSpPr txBox="1"/>
          <p:nvPr userDrawn="1"/>
        </p:nvSpPr>
        <p:spPr bwMode="auto">
          <a:xfrm>
            <a:off x="334963" y="6308725"/>
            <a:ext cx="11522074" cy="3659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72000" algn="ctr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</a:pPr>
            <a:r>
              <a:rPr lang="de-DE" sz="1400" i="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fuks e.V. | Waldhornstraße 27 | 76131 Karlsruhe | Tel. 0721 / 3842313 | kontakt@fuks.org | www.fuks.org  </a:t>
            </a:r>
          </a:p>
        </p:txBody>
      </p:sp>
      <p:pic>
        <p:nvPicPr>
          <p:cNvPr id="12" name="Grafik 11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85E44635-CEC4-1B89-84D8-659E74FC89B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1394" y="95367"/>
            <a:ext cx="1394588" cy="512415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40431C2B-E2FF-F280-92BF-5E7C6A168FF3}"/>
              </a:ext>
            </a:extLst>
          </p:cNvPr>
          <p:cNvSpPr txBox="1"/>
          <p:nvPr userDrawn="1"/>
        </p:nvSpPr>
        <p:spPr bwMode="auto">
          <a:xfrm>
            <a:off x="2199084" y="2535550"/>
            <a:ext cx="7793832" cy="1237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72000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</a:pP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„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We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do not just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want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o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satisfy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our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ustomers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we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want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o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delight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hem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1649959321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71CDA38-6154-4D49-13CA-B3BD37184A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7896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71CDA38-6154-4D49-13CA-B3BD37184A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Grafik 14" descr="Ein Bild, das Text, Person, computer, drinnen enthält.&#10;&#10;Automatisch generierte Beschreibung">
            <a:extLst>
              <a:ext uri="{FF2B5EF4-FFF2-40B4-BE49-F238E27FC236}">
                <a16:creationId xmlns:a16="http://schemas.microsoft.com/office/drawing/2014/main" id="{99EF44A3-7E34-C7FD-C95A-E9B16AFC72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900" b="57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Freihandform 14">
            <a:extLst>
              <a:ext uri="{FF2B5EF4-FFF2-40B4-BE49-F238E27FC236}">
                <a16:creationId xmlns:a16="http://schemas.microsoft.com/office/drawing/2014/main" id="{E95DACB8-5A2D-CEEE-0265-122D0B5192A0}"/>
              </a:ext>
            </a:extLst>
          </p:cNvPr>
          <p:cNvSpPr/>
          <p:nvPr userDrawn="1"/>
        </p:nvSpPr>
        <p:spPr bwMode="auto">
          <a:xfrm>
            <a:off x="1" y="0"/>
            <a:ext cx="8438415" cy="6858000"/>
          </a:xfrm>
          <a:custGeom>
            <a:avLst/>
            <a:gdLst>
              <a:gd name="connsiteX0" fmla="*/ 0 w 8438415"/>
              <a:gd name="connsiteY0" fmla="*/ 0 h 6858000"/>
              <a:gd name="connsiteX1" fmla="*/ 8438415 w 8438415"/>
              <a:gd name="connsiteY1" fmla="*/ 0 h 6858000"/>
              <a:gd name="connsiteX2" fmla="*/ 5942308 w 8438415"/>
              <a:gd name="connsiteY2" fmla="*/ 6858000 h 6858000"/>
              <a:gd name="connsiteX3" fmla="*/ 0 w 843841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38415" h="6858000">
                <a:moveTo>
                  <a:pt x="0" y="0"/>
                </a:moveTo>
                <a:lnTo>
                  <a:pt x="8438415" y="0"/>
                </a:lnTo>
                <a:lnTo>
                  <a:pt x="594230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319E7F91-9B8B-F8A6-4F1C-3D32F3B8BEC8}"/>
              </a:ext>
            </a:extLst>
          </p:cNvPr>
          <p:cNvSpPr txBox="1"/>
          <p:nvPr userDrawn="1"/>
        </p:nvSpPr>
        <p:spPr bwMode="auto">
          <a:xfrm>
            <a:off x="5330190" y="1225781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52000" indent="-180000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  <a:buFont typeface="Wingdings" pitchFamily="2" charset="2"/>
              <a:buChar char="§"/>
            </a:pPr>
            <a:endParaRPr lang="de-DE" sz="1400" dirty="0" err="1">
              <a:latin typeface="+mn-lt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36A7C89A-7D67-A29D-9D90-EEA55C7833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4190" y="825216"/>
            <a:ext cx="5407200" cy="756000"/>
          </a:xfrm>
        </p:spPr>
        <p:txBody>
          <a:bodyPr vert="horz" anchor="b">
            <a:normAutofit/>
          </a:bodyPr>
          <a:lstStyle>
            <a:lvl1pPr algn="l">
              <a:defRPr sz="4400">
                <a:latin typeface="+mj-lt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7E8320CE-EEAE-088F-756D-05AE31C997D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4190" y="1629728"/>
            <a:ext cx="5407200" cy="756000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>
                <a:solidFill>
                  <a:srgbClr val="D7D7D7"/>
                </a:solidFill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9F3E61E-F8E7-D1D7-D7D7-5ED564BCF179}"/>
              </a:ext>
            </a:extLst>
          </p:cNvPr>
          <p:cNvSpPr/>
          <p:nvPr userDrawn="1"/>
        </p:nvSpPr>
        <p:spPr>
          <a:xfrm>
            <a:off x="494190" y="762636"/>
            <a:ext cx="914400" cy="45719"/>
          </a:xfrm>
          <a:prstGeom prst="rect">
            <a:avLst/>
          </a:prstGeom>
          <a:solidFill>
            <a:srgbClr val="FF64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DB2226F1-EED8-0928-D576-4F98225738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22184" y="6355495"/>
            <a:ext cx="4114800" cy="365125"/>
          </a:xfrm>
          <a:prstGeom prst="rect">
            <a:avLst/>
          </a:prstGeom>
        </p:spPr>
        <p:txBody>
          <a:bodyPr/>
          <a:lstStyle>
            <a:lvl1pPr algn="ctr">
              <a:defRPr sz="900">
                <a:solidFill>
                  <a:srgbClr val="383838"/>
                </a:solidFill>
                <a:latin typeface="+mn-lt"/>
              </a:defRPr>
            </a:lvl1pPr>
          </a:lstStyle>
          <a:p>
            <a:r>
              <a:rPr lang="de-DE" dirty="0"/>
              <a:t>fuks e.V. Karlsruhe 2022</a:t>
            </a:r>
            <a:br>
              <a:rPr lang="de-DE" dirty="0"/>
            </a:br>
            <a:r>
              <a:rPr lang="de-DE" dirty="0"/>
              <a:t>Dieses Dokument ist nur für den direkten Empfänger bestimmt und ohne Erläuterungen durch einen unserer Berater nur bedingt aussagefähig!</a:t>
            </a:r>
          </a:p>
          <a:p>
            <a:endParaRPr lang="de-DE" dirty="0"/>
          </a:p>
        </p:txBody>
      </p:sp>
      <p:sp>
        <p:nvSpPr>
          <p:cNvPr id="23" name="Bildplatzhalter 3">
            <a:extLst>
              <a:ext uri="{FF2B5EF4-FFF2-40B4-BE49-F238E27FC236}">
                <a16:creationId xmlns:a16="http://schemas.microsoft.com/office/drawing/2014/main" id="{73BE4617-E1F3-F328-07D5-A06E18FB735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158398" y="5065713"/>
            <a:ext cx="1558638" cy="1243012"/>
          </a:xfrm>
          <a:prstGeom prst="rect">
            <a:avLst/>
          </a:prstGeom>
        </p:spPr>
        <p:txBody>
          <a:bodyPr anchor="ctr"/>
          <a:lstStyle>
            <a:lvl1pPr marL="72000" indent="0" algn="ctr">
              <a:buNone/>
              <a:defRPr/>
            </a:lvl1pPr>
          </a:lstStyle>
          <a:p>
            <a:r>
              <a:rPr lang="de-DE" dirty="0"/>
              <a:t>Platzhalter Kundenlogo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2E826B8-3D8F-D313-9EA0-9C4090EBA03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190" y="5593008"/>
            <a:ext cx="1558638" cy="572692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D3AFB398-41B6-9124-4254-3A9F4F26A9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67"/>
          <a:stretch/>
        </p:blipFill>
        <p:spPr>
          <a:xfrm>
            <a:off x="11628094" y="95367"/>
            <a:ext cx="457888" cy="512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249891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e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71CDA38-6154-4D49-13CA-B3BD37184A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4741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71CDA38-6154-4D49-13CA-B3BD37184A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 descr="Ein Bild, das Text enthält.&#10;&#10;Automatisch generierte Beschreibung">
            <a:extLst>
              <a:ext uri="{FF2B5EF4-FFF2-40B4-BE49-F238E27FC236}">
                <a16:creationId xmlns:a16="http://schemas.microsoft.com/office/drawing/2014/main" id="{7E2AFE84-9547-D48B-9AB7-0F1949F37B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775"/>
          <a:stretch/>
        </p:blipFill>
        <p:spPr>
          <a:xfrm>
            <a:off x="2704829" y="0"/>
            <a:ext cx="9487171" cy="6858000"/>
          </a:xfrm>
          <a:prstGeom prst="rect">
            <a:avLst/>
          </a:prstGeom>
        </p:spPr>
      </p:pic>
      <p:sp>
        <p:nvSpPr>
          <p:cNvPr id="16" name="Freihandform 14">
            <a:extLst>
              <a:ext uri="{FF2B5EF4-FFF2-40B4-BE49-F238E27FC236}">
                <a16:creationId xmlns:a16="http://schemas.microsoft.com/office/drawing/2014/main" id="{E95DACB8-5A2D-CEEE-0265-122D0B5192A0}"/>
              </a:ext>
            </a:extLst>
          </p:cNvPr>
          <p:cNvSpPr/>
          <p:nvPr userDrawn="1"/>
        </p:nvSpPr>
        <p:spPr bwMode="auto">
          <a:xfrm>
            <a:off x="1" y="0"/>
            <a:ext cx="8438415" cy="6858000"/>
          </a:xfrm>
          <a:custGeom>
            <a:avLst/>
            <a:gdLst>
              <a:gd name="connsiteX0" fmla="*/ 0 w 8438415"/>
              <a:gd name="connsiteY0" fmla="*/ 0 h 6858000"/>
              <a:gd name="connsiteX1" fmla="*/ 8438415 w 8438415"/>
              <a:gd name="connsiteY1" fmla="*/ 0 h 6858000"/>
              <a:gd name="connsiteX2" fmla="*/ 5942308 w 8438415"/>
              <a:gd name="connsiteY2" fmla="*/ 6858000 h 6858000"/>
              <a:gd name="connsiteX3" fmla="*/ 0 w 843841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38415" h="6858000">
                <a:moveTo>
                  <a:pt x="0" y="0"/>
                </a:moveTo>
                <a:lnTo>
                  <a:pt x="8438415" y="0"/>
                </a:lnTo>
                <a:lnTo>
                  <a:pt x="594230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319E7F91-9B8B-F8A6-4F1C-3D32F3B8BEC8}"/>
              </a:ext>
            </a:extLst>
          </p:cNvPr>
          <p:cNvSpPr txBox="1"/>
          <p:nvPr userDrawn="1"/>
        </p:nvSpPr>
        <p:spPr bwMode="auto">
          <a:xfrm>
            <a:off x="5330190" y="1225781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52000" indent="-180000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  <a:buFont typeface="Wingdings" pitchFamily="2" charset="2"/>
              <a:buChar char="§"/>
            </a:pPr>
            <a:endParaRPr lang="de-DE" sz="1400" dirty="0" err="1">
              <a:latin typeface="+mn-lt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36A7C89A-7D67-A29D-9D90-EEA55C7833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4190" y="825216"/>
            <a:ext cx="5407200" cy="756000"/>
          </a:xfrm>
        </p:spPr>
        <p:txBody>
          <a:bodyPr vert="horz" anchor="b">
            <a:normAutofit/>
          </a:bodyPr>
          <a:lstStyle>
            <a:lvl1pPr algn="l">
              <a:defRPr sz="4400">
                <a:latin typeface="+mj-lt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7E8320CE-EEAE-088F-756D-05AE31C997D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4190" y="1629728"/>
            <a:ext cx="5407200" cy="756000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>
                <a:solidFill>
                  <a:srgbClr val="D7D7D7"/>
                </a:solidFill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9F3E61E-F8E7-D1D7-D7D7-5ED564BCF179}"/>
              </a:ext>
            </a:extLst>
          </p:cNvPr>
          <p:cNvSpPr/>
          <p:nvPr userDrawn="1"/>
        </p:nvSpPr>
        <p:spPr>
          <a:xfrm>
            <a:off x="494190" y="762636"/>
            <a:ext cx="914400" cy="45719"/>
          </a:xfrm>
          <a:prstGeom prst="rect">
            <a:avLst/>
          </a:prstGeom>
          <a:solidFill>
            <a:srgbClr val="FF64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B147D10F-D819-CB77-5B38-F3E8EF17B3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22184" y="6355495"/>
            <a:ext cx="4114800" cy="365125"/>
          </a:xfrm>
          <a:prstGeom prst="rect">
            <a:avLst/>
          </a:prstGeom>
        </p:spPr>
        <p:txBody>
          <a:bodyPr/>
          <a:lstStyle>
            <a:lvl1pPr algn="ctr">
              <a:defRPr sz="9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r>
              <a:rPr lang="de-DE" dirty="0"/>
              <a:t>fuks e.V. Karlsruhe 2022</a:t>
            </a:r>
            <a:br>
              <a:rPr lang="de-DE" dirty="0"/>
            </a:br>
            <a:r>
              <a:rPr lang="de-DE" dirty="0"/>
              <a:t>Dieses Dokument ist nur für den direkten Empfänger bestimmt und ohne Erläuterungen durch einen unserer Berater nur bedingt aussagefähig!</a:t>
            </a:r>
          </a:p>
          <a:p>
            <a:endParaRPr lang="de-DE" dirty="0"/>
          </a:p>
        </p:txBody>
      </p:sp>
      <p:pic>
        <p:nvPicPr>
          <p:cNvPr id="12" name="Grafik 11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7AD20766-6DDA-D1CC-01E4-C479E9875A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13"/>
          <a:stretch/>
        </p:blipFill>
        <p:spPr>
          <a:xfrm>
            <a:off x="11628094" y="95367"/>
            <a:ext cx="473977" cy="51241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259FD0E5-47B9-AF42-E6BB-86B516CF487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190" y="5593008"/>
            <a:ext cx="1558638" cy="572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218336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B90ADC7-92FA-8F2F-8572-3459139E04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1140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B90ADC7-92FA-8F2F-8572-3459139E04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 descr="Ein Bild, das Text, Person, computer, drinnen enthält.&#10;&#10;Automatisch generierte Beschreibung">
            <a:extLst>
              <a:ext uri="{FF2B5EF4-FFF2-40B4-BE49-F238E27FC236}">
                <a16:creationId xmlns:a16="http://schemas.microsoft.com/office/drawing/2014/main" id="{1CC8C495-B305-A414-FC6B-9B5DC07BB5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900" b="57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Freihandform 13">
            <a:extLst>
              <a:ext uri="{FF2B5EF4-FFF2-40B4-BE49-F238E27FC236}">
                <a16:creationId xmlns:a16="http://schemas.microsoft.com/office/drawing/2014/main" id="{182AA0C3-35D7-DCD1-7DE6-13CEF9F04E83}"/>
              </a:ext>
            </a:extLst>
          </p:cNvPr>
          <p:cNvSpPr/>
          <p:nvPr userDrawn="1"/>
        </p:nvSpPr>
        <p:spPr bwMode="auto">
          <a:xfrm>
            <a:off x="1" y="0"/>
            <a:ext cx="8641491" cy="6858000"/>
          </a:xfrm>
          <a:custGeom>
            <a:avLst/>
            <a:gdLst>
              <a:gd name="connsiteX0" fmla="*/ 0 w 8641491"/>
              <a:gd name="connsiteY0" fmla="*/ 0 h 6858000"/>
              <a:gd name="connsiteX1" fmla="*/ 6145383 w 8641491"/>
              <a:gd name="connsiteY1" fmla="*/ 0 h 6858000"/>
              <a:gd name="connsiteX2" fmla="*/ 8641491 w 8641491"/>
              <a:gd name="connsiteY2" fmla="*/ 6858000 h 6858000"/>
              <a:gd name="connsiteX3" fmla="*/ 0 w 864149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41491" h="6858000">
                <a:moveTo>
                  <a:pt x="0" y="0"/>
                </a:moveTo>
                <a:lnTo>
                  <a:pt x="6145383" y="0"/>
                </a:lnTo>
                <a:lnTo>
                  <a:pt x="864149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>
              <a:alpha val="50000"/>
            </a:schemeClr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reihandform 16">
            <a:extLst>
              <a:ext uri="{FF2B5EF4-FFF2-40B4-BE49-F238E27FC236}">
                <a16:creationId xmlns:a16="http://schemas.microsoft.com/office/drawing/2014/main" id="{CAD31147-B55F-8166-3313-272B70F2E717}"/>
              </a:ext>
            </a:extLst>
          </p:cNvPr>
          <p:cNvSpPr/>
          <p:nvPr userDrawn="1"/>
        </p:nvSpPr>
        <p:spPr bwMode="auto">
          <a:xfrm>
            <a:off x="6138833" y="0"/>
            <a:ext cx="6053166" cy="6858000"/>
          </a:xfrm>
          <a:custGeom>
            <a:avLst/>
            <a:gdLst>
              <a:gd name="connsiteX0" fmla="*/ 0 w 6053166"/>
              <a:gd name="connsiteY0" fmla="*/ 0 h 6858000"/>
              <a:gd name="connsiteX1" fmla="*/ 6053166 w 6053166"/>
              <a:gd name="connsiteY1" fmla="*/ 0 h 6858000"/>
              <a:gd name="connsiteX2" fmla="*/ 6053166 w 6053166"/>
              <a:gd name="connsiteY2" fmla="*/ 6858000 h 6858000"/>
              <a:gd name="connsiteX3" fmla="*/ 2496107 w 605316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53166" h="6858000">
                <a:moveTo>
                  <a:pt x="0" y="0"/>
                </a:moveTo>
                <a:lnTo>
                  <a:pt x="6053166" y="0"/>
                </a:lnTo>
                <a:lnTo>
                  <a:pt x="6053166" y="6858000"/>
                </a:lnTo>
                <a:lnTo>
                  <a:pt x="2496107" y="6858000"/>
                </a:lnTo>
                <a:close/>
              </a:path>
            </a:pathLst>
          </a:custGeom>
          <a:solidFill>
            <a:schemeClr val="bg1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4819867D-A1B8-E0C3-1169-18BC6A77693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5600" y="3991326"/>
            <a:ext cx="6292800" cy="756000"/>
          </a:xfrm>
        </p:spPr>
        <p:txBody>
          <a:bodyPr vert="horz" anchor="b">
            <a:normAutofit/>
          </a:bodyPr>
          <a:lstStyle>
            <a:lvl1pPr algn="l">
              <a:defRPr sz="44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8C205F22-2544-12F1-109E-E3F67D7F18F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5600" y="4795838"/>
            <a:ext cx="6292800" cy="756000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>
                <a:solidFill>
                  <a:srgbClr val="D7D7D7"/>
                </a:solidFill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6FB8A2B-2D40-0AE9-D043-E9FC8F9FB097}"/>
              </a:ext>
            </a:extLst>
          </p:cNvPr>
          <p:cNvSpPr/>
          <p:nvPr userDrawn="1"/>
        </p:nvSpPr>
        <p:spPr>
          <a:xfrm>
            <a:off x="345600" y="3928746"/>
            <a:ext cx="914400" cy="45719"/>
          </a:xfrm>
          <a:prstGeom prst="rect">
            <a:avLst/>
          </a:prstGeom>
          <a:solidFill>
            <a:srgbClr val="FF64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DB05E4C0-3029-2689-9AF5-09235A7DEC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641492" y="6218642"/>
            <a:ext cx="3562949" cy="273708"/>
          </a:xfrm>
          <a:prstGeom prst="rect">
            <a:avLst/>
          </a:prstGeom>
        </p:spPr>
        <p:txBody>
          <a:bodyPr/>
          <a:lstStyle>
            <a:lvl1pPr algn="ctr">
              <a:defRPr sz="900">
                <a:solidFill>
                  <a:schemeClr val="accent5"/>
                </a:solidFill>
                <a:latin typeface="+mn-lt"/>
              </a:defRPr>
            </a:lvl1pPr>
          </a:lstStyle>
          <a:p>
            <a:r>
              <a:rPr lang="de-DE" dirty="0"/>
              <a:t>fuks e.V. Karlsruhe 2022</a:t>
            </a:r>
            <a:br>
              <a:rPr lang="de-DE" dirty="0"/>
            </a:br>
            <a:r>
              <a:rPr lang="de-DE" dirty="0"/>
              <a:t>Dieses Dokument ist nur für den direkten Empfänger bestimmt und ohne Erläuterungen durch einen unserer Berater nur bedingt aussagefähig!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38C48552-9BCA-C646-D350-360D66DFBEA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4090" y="619939"/>
            <a:ext cx="1558638" cy="572692"/>
          </a:xfrm>
          <a:prstGeom prst="rect">
            <a:avLst/>
          </a:prstGeom>
        </p:spPr>
      </p:pic>
      <p:sp>
        <p:nvSpPr>
          <p:cNvPr id="12" name="Bildplatzhalter 3">
            <a:extLst>
              <a:ext uri="{FF2B5EF4-FFF2-40B4-BE49-F238E27FC236}">
                <a16:creationId xmlns:a16="http://schemas.microsoft.com/office/drawing/2014/main" id="{89209865-8AB4-015D-2C32-1FAD4D2DDE8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248298" y="284779"/>
            <a:ext cx="1558638" cy="1243012"/>
          </a:xfrm>
          <a:prstGeom prst="rect">
            <a:avLst/>
          </a:prstGeom>
        </p:spPr>
        <p:txBody>
          <a:bodyPr anchor="ctr"/>
          <a:lstStyle>
            <a:lvl1pPr marL="72000" indent="0" algn="ctr">
              <a:buNone/>
              <a:defRPr/>
            </a:lvl1pPr>
          </a:lstStyle>
          <a:p>
            <a:r>
              <a:rPr lang="de-DE" dirty="0"/>
              <a:t>Platzhalter Kundenlogo</a:t>
            </a:r>
          </a:p>
        </p:txBody>
      </p:sp>
    </p:spTree>
    <p:extLst>
      <p:ext uri="{BB962C8B-B14F-4D97-AF65-F5344CB8AC3E}">
        <p14:creationId xmlns:p14="http://schemas.microsoft.com/office/powerpoint/2010/main" val="4151044449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genda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4E9A4CF0-9225-8246-B15A-6AFC22D426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024023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4E9A4CF0-9225-8246-B15A-6AFC22D426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Grafik 16" descr="Ein Bild, das Text, Person, computer, drinnen enthält.&#10;&#10;Automatisch generierte Beschreibung">
            <a:extLst>
              <a:ext uri="{FF2B5EF4-FFF2-40B4-BE49-F238E27FC236}">
                <a16:creationId xmlns:a16="http://schemas.microsoft.com/office/drawing/2014/main" id="{A43BEBBF-9283-F65C-7D4C-38825986D7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843" t="9900" b="5725"/>
          <a:stretch/>
        </p:blipFill>
        <p:spPr>
          <a:xfrm>
            <a:off x="7783712" y="0"/>
            <a:ext cx="4408289" cy="6858000"/>
          </a:xfrm>
          <a:custGeom>
            <a:avLst/>
            <a:gdLst>
              <a:gd name="connsiteX0" fmla="*/ 2496108 w 4408289"/>
              <a:gd name="connsiteY0" fmla="*/ 0 h 6858000"/>
              <a:gd name="connsiteX1" fmla="*/ 4408289 w 4408289"/>
              <a:gd name="connsiteY1" fmla="*/ 0 h 6858000"/>
              <a:gd name="connsiteX2" fmla="*/ 4408289 w 4408289"/>
              <a:gd name="connsiteY2" fmla="*/ 5113669 h 6858000"/>
              <a:gd name="connsiteX3" fmla="*/ 3773404 w 4408289"/>
              <a:gd name="connsiteY3" fmla="*/ 6858000 h 6858000"/>
              <a:gd name="connsiteX4" fmla="*/ 0 w 4408289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8289" h="6858000">
                <a:moveTo>
                  <a:pt x="2496108" y="0"/>
                </a:moveTo>
                <a:lnTo>
                  <a:pt x="4408289" y="0"/>
                </a:lnTo>
                <a:lnTo>
                  <a:pt x="4408289" y="5113669"/>
                </a:lnTo>
                <a:lnTo>
                  <a:pt x="377340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D1F86F24-4517-4F5C-BB9F-16AA04E387E9}"/>
              </a:ext>
            </a:extLst>
          </p:cNvPr>
          <p:cNvSpPr/>
          <p:nvPr userDrawn="1"/>
        </p:nvSpPr>
        <p:spPr bwMode="auto">
          <a:xfrm>
            <a:off x="7783713" y="5080"/>
            <a:ext cx="4408289" cy="6858000"/>
          </a:xfrm>
          <a:custGeom>
            <a:avLst/>
            <a:gdLst>
              <a:gd name="connsiteX0" fmla="*/ 2496108 w 4408289"/>
              <a:gd name="connsiteY0" fmla="*/ 0 h 6858000"/>
              <a:gd name="connsiteX1" fmla="*/ 4408289 w 4408289"/>
              <a:gd name="connsiteY1" fmla="*/ 0 h 6858000"/>
              <a:gd name="connsiteX2" fmla="*/ 4408289 w 4408289"/>
              <a:gd name="connsiteY2" fmla="*/ 5113669 h 6858000"/>
              <a:gd name="connsiteX3" fmla="*/ 3773404 w 4408289"/>
              <a:gd name="connsiteY3" fmla="*/ 6858000 h 6858000"/>
              <a:gd name="connsiteX4" fmla="*/ 0 w 4408289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8289" h="6858000">
                <a:moveTo>
                  <a:pt x="2496108" y="0"/>
                </a:moveTo>
                <a:lnTo>
                  <a:pt x="4408289" y="0"/>
                </a:lnTo>
                <a:lnTo>
                  <a:pt x="4408289" y="5113669"/>
                </a:lnTo>
                <a:lnTo>
                  <a:pt x="377340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>
              <a:alpha val="5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latinLnBrk="0" hangingPunct="1">
              <a:lnSpc>
                <a:spcPct val="100000"/>
              </a:lnSpc>
              <a:spcBef>
                <a:spcPct val="20000"/>
              </a:spcBef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b="0" i="0" u="none" strike="noStrike" cap="none" normalizeH="0" baseline="0">
              <a:ln>
                <a:noFill/>
              </a:ln>
              <a:effectLst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89E1D933-78BF-5AD8-5776-39ED58897ECD}"/>
              </a:ext>
            </a:extLst>
          </p:cNvPr>
          <p:cNvSpPr/>
          <p:nvPr userDrawn="1"/>
        </p:nvSpPr>
        <p:spPr bwMode="auto">
          <a:xfrm>
            <a:off x="-9988" y="6357"/>
            <a:ext cx="9649289" cy="714375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2">
                  <a:lumMod val="60000"/>
                  <a:lumOff val="40000"/>
                </a:schemeClr>
              </a:solidFill>
              <a:effectLst/>
              <a:latin typeface="Arial" pitchFamily="34" charset="0"/>
            </a:endParaRPr>
          </a:p>
        </p:txBody>
      </p:sp>
      <p:sp>
        <p:nvSpPr>
          <p:cNvPr id="23" name="Titelplatzhalter 10">
            <a:extLst>
              <a:ext uri="{FF2B5EF4-FFF2-40B4-BE49-F238E27FC236}">
                <a16:creationId xmlns:a16="http://schemas.microsoft.com/office/drawing/2014/main" id="{724F5692-33DC-3454-377B-7E668F28AEC7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46537" y="429911"/>
            <a:ext cx="11510501" cy="756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093FF58-3FC4-6D90-CDFE-5A67ED06C4D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4963" y="353864"/>
            <a:ext cx="540000" cy="0"/>
          </a:xfrm>
          <a:prstGeom prst="line">
            <a:avLst/>
          </a:prstGeom>
          <a:ln w="3810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" name="Grafik 7">
            <a:extLst>
              <a:ext uri="{FF2B5EF4-FFF2-40B4-BE49-F238E27FC236}">
                <a16:creationId xmlns:a16="http://schemas.microsoft.com/office/drawing/2014/main" id="{3DC7C58F-8E69-E735-B105-85A268F8CE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67"/>
          <a:stretch/>
        </p:blipFill>
        <p:spPr>
          <a:xfrm>
            <a:off x="11628094" y="95367"/>
            <a:ext cx="457888" cy="512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7205895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undlayout Ohne Inhaltsvor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26666BB-DF72-49F7-995D-DCE5910B2D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1748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26666BB-DF72-49F7-995D-DCE5910B2D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platzhalter 10">
            <a:extLst>
              <a:ext uri="{FF2B5EF4-FFF2-40B4-BE49-F238E27FC236}">
                <a16:creationId xmlns:a16="http://schemas.microsoft.com/office/drawing/2014/main" id="{5253050E-B9DC-429E-96B7-21A29E113A0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46537" y="429911"/>
            <a:ext cx="11510501" cy="756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  <a:br>
              <a:rPr lang="de-DE" dirty="0"/>
            </a:br>
            <a:br>
              <a:rPr lang="de-DE" dirty="0"/>
            </a:b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4500351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undlayout Mit Inhaltsvor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26666BB-DF72-49F7-995D-DCE5910B2D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1748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26666BB-DF72-49F7-995D-DCE5910B2D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platzhalter 10">
            <a:extLst>
              <a:ext uri="{FF2B5EF4-FFF2-40B4-BE49-F238E27FC236}">
                <a16:creationId xmlns:a16="http://schemas.microsoft.com/office/drawing/2014/main" id="{5253050E-B9DC-429E-96B7-21A29E113A0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46537" y="429911"/>
            <a:ext cx="11510501" cy="756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B04E87C-FA12-C60F-64A2-FC09B63C761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6075" y="1268413"/>
            <a:ext cx="11510963" cy="50403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18351967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undlayout mit So-Wha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D2C2AD5-059A-41BF-BB3F-400955987E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4A1BF09-D41B-4269-B7C6-E1ABD617762F}"/>
              </a:ext>
            </a:extLst>
          </p:cNvPr>
          <p:cNvSpPr/>
          <p:nvPr userDrawn="1"/>
        </p:nvSpPr>
        <p:spPr bwMode="auto">
          <a:xfrm>
            <a:off x="334963" y="5769649"/>
            <a:ext cx="11522075" cy="540000"/>
          </a:xfrm>
          <a:prstGeom prst="rect">
            <a:avLst/>
          </a:prstGeom>
          <a:solidFill>
            <a:schemeClr val="tx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358775"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</a:endParaRPr>
          </a:p>
        </p:txBody>
      </p: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77FE6652-EBC1-43B8-BB5E-A8224E6B6014}"/>
              </a:ext>
            </a:extLst>
          </p:cNvPr>
          <p:cNvSpPr/>
          <p:nvPr userDrawn="1"/>
        </p:nvSpPr>
        <p:spPr bwMode="auto">
          <a:xfrm rot="8100000">
            <a:off x="453426" y="5944569"/>
            <a:ext cx="180001" cy="180001"/>
          </a:xfrm>
          <a:custGeom>
            <a:avLst/>
            <a:gdLst>
              <a:gd name="connsiteX0" fmla="*/ 1 w 180001"/>
              <a:gd name="connsiteY0" fmla="*/ 180000 h 180001"/>
              <a:gd name="connsiteX1" fmla="*/ 0 w 180001"/>
              <a:gd name="connsiteY1" fmla="*/ 1 h 180001"/>
              <a:gd name="connsiteX2" fmla="*/ 1 w 180001"/>
              <a:gd name="connsiteY2" fmla="*/ 1 h 180001"/>
              <a:gd name="connsiteX3" fmla="*/ 1 w 180001"/>
              <a:gd name="connsiteY3" fmla="*/ 0 h 180001"/>
              <a:gd name="connsiteX4" fmla="*/ 180001 w 180001"/>
              <a:gd name="connsiteY4" fmla="*/ 0 h 180001"/>
              <a:gd name="connsiteX5" fmla="*/ 180001 w 180001"/>
              <a:gd name="connsiteY5" fmla="*/ 36000 h 180001"/>
              <a:gd name="connsiteX6" fmla="*/ 36001 w 180001"/>
              <a:gd name="connsiteY6" fmla="*/ 36000 h 180001"/>
              <a:gd name="connsiteX7" fmla="*/ 36001 w 180001"/>
              <a:gd name="connsiteY7" fmla="*/ 180001 h 1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0001" h="180001">
                <a:moveTo>
                  <a:pt x="1" y="180000"/>
                </a:moveTo>
                <a:lnTo>
                  <a:pt x="0" y="1"/>
                </a:lnTo>
                <a:lnTo>
                  <a:pt x="1" y="1"/>
                </a:lnTo>
                <a:lnTo>
                  <a:pt x="1" y="0"/>
                </a:lnTo>
                <a:lnTo>
                  <a:pt x="180001" y="0"/>
                </a:lnTo>
                <a:lnTo>
                  <a:pt x="180001" y="36000"/>
                </a:lnTo>
                <a:lnTo>
                  <a:pt x="36001" y="36000"/>
                </a:lnTo>
                <a:lnTo>
                  <a:pt x="36001" y="180001"/>
                </a:lnTo>
                <a:close/>
              </a:path>
            </a:pathLst>
          </a:cu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A437B8D-BE9E-409A-B352-A5551F4203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5813" y="5769649"/>
            <a:ext cx="11071225" cy="540000"/>
          </a:xfrm>
          <a:prstGeom prst="rect">
            <a:avLst/>
          </a:prstGeom>
        </p:spPr>
        <p:txBody>
          <a:bodyPr lIns="0" anchor="ctr"/>
          <a:lstStyle>
            <a:lvl1pPr marL="7200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Kicker Box Text hinzufügen</a:t>
            </a:r>
          </a:p>
        </p:txBody>
      </p:sp>
    </p:spTree>
    <p:extLst>
      <p:ext uri="{BB962C8B-B14F-4D97-AF65-F5344CB8AC3E}">
        <p14:creationId xmlns:p14="http://schemas.microsoft.com/office/powerpoint/2010/main" val="302487190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63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6B12E-D24D-0514-840D-D1E7C188D8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5918B95-4DBC-35B8-6F87-7257103A4B7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963" y="1268413"/>
            <a:ext cx="5689600" cy="50403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575E3EEA-98BA-9B71-1751-E952AC0696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67439" y="1268413"/>
            <a:ext cx="5689600" cy="50403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3381604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388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4008224023"/>
              </p:ext>
            </p:extLst>
          </p:nvPr>
        </p:nvGraphicFramePr>
        <p:xfrm>
          <a:off x="1959" y="159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722" imgH="714" progId="TCLayout.ActiveDocument.1">
                  <p:embed/>
                </p:oleObj>
              </mc:Choice>
              <mc:Fallback>
                <p:oleObj name="think-cell Slide" r:id="rId21" imgW="722" imgH="714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959" y="159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auto">
          <a:xfrm>
            <a:off x="-9988" y="6357"/>
            <a:ext cx="9649289" cy="714375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2">
                  <a:lumMod val="60000"/>
                  <a:lumOff val="40000"/>
                </a:schemeClr>
              </a:solidFill>
              <a:effectLst/>
              <a:latin typeface="Arial" pitchFamily="34" charset="0"/>
            </a:endParaRPr>
          </a:p>
        </p:txBody>
      </p:sp>
      <p:sp>
        <p:nvSpPr>
          <p:cNvPr id="636962" name="Text Box 34"/>
          <p:cNvSpPr txBox="1">
            <a:spLocks noChangeArrowheads="1"/>
          </p:cNvSpPr>
          <p:nvPr userDrawn="1"/>
        </p:nvSpPr>
        <p:spPr bwMode="auto">
          <a:xfrm>
            <a:off x="11521440" y="6535777"/>
            <a:ext cx="315278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95250" indent="-7938" algn="r">
              <a:spcBef>
                <a:spcPct val="50000"/>
              </a:spcBef>
              <a:buClr>
                <a:schemeClr val="bg1"/>
              </a:buClr>
              <a:buSzPct val="150000"/>
              <a:buFont typeface="Wingdings" charset="2"/>
              <a:buNone/>
              <a:defRPr/>
            </a:pPr>
            <a:fld id="{F6BAA8BF-8823-4CD1-8B1A-151442305F43}" type="slidenum">
              <a:rPr lang="de-DE" sz="800">
                <a:solidFill>
                  <a:schemeClr val="tx1"/>
                </a:solidFill>
                <a:latin typeface="+mj-lt"/>
                <a:ea typeface="ヒラギノ角ゴ Pro W3" charset="-128"/>
                <a:cs typeface="+mn-cs"/>
              </a:rPr>
              <a:pPr marL="95250" indent="-7938" algn="r">
                <a:spcBef>
                  <a:spcPct val="50000"/>
                </a:spcBef>
                <a:buClr>
                  <a:schemeClr val="bg1"/>
                </a:buClr>
                <a:buSzPct val="150000"/>
                <a:buFont typeface="Wingdings" charset="2"/>
                <a:buNone/>
                <a:defRPr/>
              </a:pPr>
              <a:t>‹#›</a:t>
            </a:fld>
            <a:endParaRPr lang="de-DE" sz="800" dirty="0">
              <a:solidFill>
                <a:schemeClr val="tx1"/>
              </a:solidFill>
              <a:latin typeface="+mj-lt"/>
              <a:ea typeface="ヒラギノ角ゴ Pro W3" charset="-128"/>
              <a:cs typeface="+mn-cs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66D3299-890E-402F-BC97-D06F239FCF19}"/>
              </a:ext>
            </a:extLst>
          </p:cNvPr>
          <p:cNvSpPr/>
          <p:nvPr userDrawn="1"/>
        </p:nvSpPr>
        <p:spPr bwMode="auto">
          <a:xfrm>
            <a:off x="10790647" y="6321866"/>
            <a:ext cx="751113" cy="337022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None/>
              <a:tabLst/>
            </a:pPr>
            <a:r>
              <a:rPr kumimoji="0" lang="de-DE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www.fuks.org</a:t>
            </a:r>
          </a:p>
        </p:txBody>
      </p:sp>
      <p:sp>
        <p:nvSpPr>
          <p:cNvPr id="16" name="Titelplatzhalter 10">
            <a:extLst>
              <a:ext uri="{FF2B5EF4-FFF2-40B4-BE49-F238E27FC236}">
                <a16:creationId xmlns:a16="http://schemas.microsoft.com/office/drawing/2014/main" id="{C9508361-60CD-48C3-B603-1BEEBF15A9F1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46537" y="429911"/>
            <a:ext cx="11510501" cy="756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F52B2AB4-0981-47C7-BF66-FBF4456CE6A6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4963" y="353864"/>
            <a:ext cx="540000" cy="0"/>
          </a:xfrm>
          <a:prstGeom prst="line">
            <a:avLst/>
          </a:prstGeom>
          <a:ln w="3810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5045B87-293A-0439-0800-6C9BDBC77156}"/>
              </a:ext>
            </a:extLst>
          </p:cNvPr>
          <p:cNvSpPr/>
          <p:nvPr userDrawn="1"/>
        </p:nvSpPr>
        <p:spPr bwMode="auto">
          <a:xfrm>
            <a:off x="11112000" y="0"/>
            <a:ext cx="108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45EA5EE6-200B-9181-31D2-7162245B64AF}"/>
              </a:ext>
            </a:extLst>
          </p:cNvPr>
          <p:cNvSpPr/>
          <p:nvPr userDrawn="1"/>
        </p:nvSpPr>
        <p:spPr bwMode="auto">
          <a:xfrm rot="5400000">
            <a:off x="11544000" y="432000"/>
            <a:ext cx="108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BF4A352-1FA7-D501-380D-84A059BA16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6537" y="1268413"/>
            <a:ext cx="11510501" cy="5040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564104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</p:sldLayoutIdLst>
  <p:transition/>
  <p:hf sldNum="0" hdr="0"/>
  <p:txStyles>
    <p:titleStyle>
      <a:lvl1pPr marL="0" indent="0" algn="l" rtl="0" eaLnBrk="0" fontAlgn="base" hangingPunct="0">
        <a:spcBef>
          <a:spcPct val="0"/>
        </a:spcBef>
        <a:spcAft>
          <a:spcPct val="0"/>
        </a:spcAft>
        <a:tabLst>
          <a:tab pos="0" algn="l"/>
        </a:tabLst>
        <a:defRPr sz="2400" b="1">
          <a:solidFill>
            <a:schemeClr val="tx1"/>
          </a:solidFill>
          <a:latin typeface="+mj-lt"/>
          <a:ea typeface="ヒラギノ角ゴ Pro W3" charset="-128"/>
          <a:cs typeface="ヒラギノ角ゴ Pro W3" charset="-128"/>
        </a:defRPr>
      </a:lvl1pPr>
      <a:lvl2pPr marL="153988" indent="-153988"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  <a:ea typeface="ヒラギノ角ゴ Pro W3" charset="-128"/>
          <a:cs typeface="ヒラギノ角ゴ Pro W3" charset="-128"/>
        </a:defRPr>
      </a:lvl2pPr>
      <a:lvl3pPr marL="153988" indent="-153988"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  <a:ea typeface="ヒラギノ角ゴ Pro W3" charset="-128"/>
          <a:cs typeface="ヒラギノ角ゴ Pro W3" charset="-128"/>
        </a:defRPr>
      </a:lvl3pPr>
      <a:lvl4pPr marL="153988" indent="-153988"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  <a:ea typeface="ヒラギノ角ゴ Pro W3" charset="-128"/>
          <a:cs typeface="ヒラギノ角ゴ Pro W3" charset="-128"/>
        </a:defRPr>
      </a:lvl4pPr>
      <a:lvl5pPr marL="153988" indent="-153988"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  <a:ea typeface="ヒラギノ角ゴ Pro W3" charset="-128"/>
          <a:cs typeface="ヒラギノ角ゴ Pro W3" charset="-128"/>
        </a:defRPr>
      </a:lvl5pPr>
      <a:lvl6pPr marL="4572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</a:defRPr>
      </a:lvl9pPr>
    </p:titleStyle>
    <p:bodyStyle>
      <a:lvl1pPr marL="252000" indent="-180000" algn="l" rtl="0" eaLnBrk="0" fontAlgn="base" hangingPunct="0">
        <a:spcBef>
          <a:spcPts val="200"/>
        </a:spcBef>
        <a:spcAft>
          <a:spcPts val="200"/>
        </a:spcAft>
        <a:buClr>
          <a:schemeClr val="tx1"/>
        </a:buClr>
        <a:buSzPct val="100000"/>
        <a:buFont typeface="Wingdings" pitchFamily="2" charset="2"/>
        <a:buChar char="§"/>
        <a:defRPr lang="de-DE" sz="1400" dirty="0" smtClean="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1pPr>
      <a:lvl2pPr marL="540000" indent="-180000" algn="l" rtl="0" eaLnBrk="0" fontAlgn="base" hangingPunct="0">
        <a:spcBef>
          <a:spcPts val="200"/>
        </a:spcBef>
        <a:spcAft>
          <a:spcPts val="200"/>
        </a:spcAft>
        <a:buClr>
          <a:schemeClr val="tx1"/>
        </a:buClr>
        <a:buFont typeface="Wingdings" pitchFamily="2" charset="2"/>
        <a:buChar char="§"/>
        <a:defRPr lang="de-DE" sz="1400" dirty="0" smtClean="0">
          <a:solidFill>
            <a:schemeClr val="tx1"/>
          </a:solidFill>
          <a:latin typeface="+mn-lt"/>
          <a:ea typeface="ヒラギノ角ゴ Pro W3" charset="-128"/>
          <a:cs typeface="ヒラギノ角ゴ Pro W3"/>
        </a:defRPr>
      </a:lvl2pPr>
      <a:lvl3pPr marL="900000" indent="-180000" algn="l" rtl="0" eaLnBrk="0" fontAlgn="base" hangingPunct="0">
        <a:spcBef>
          <a:spcPts val="200"/>
        </a:spcBef>
        <a:spcAft>
          <a:spcPts val="200"/>
        </a:spcAft>
        <a:buClr>
          <a:schemeClr val="tx1"/>
        </a:buClr>
        <a:buFont typeface="Wingdings" pitchFamily="2" charset="2"/>
        <a:buChar char="§"/>
        <a:defRPr lang="de-DE" sz="1400" dirty="0" smtClean="0">
          <a:solidFill>
            <a:schemeClr val="tx1"/>
          </a:solidFill>
          <a:latin typeface="+mn-lt"/>
          <a:ea typeface="ヒラギノ角ゴ Pro W3" charset="-128"/>
          <a:cs typeface="ヒラギノ角ゴ Pro W3"/>
        </a:defRPr>
      </a:lvl3pPr>
      <a:lvl4pPr marL="1643063" indent="-25082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ebdings" pitchFamily="18" charset="2"/>
        <a:buChar char="4"/>
        <a:defRPr sz="1400">
          <a:solidFill>
            <a:schemeClr val="tx1"/>
          </a:solidFill>
          <a:latin typeface="+mn-lt"/>
          <a:ea typeface="ヒラギノ角ゴ Pro W3" charset="-128"/>
          <a:cs typeface="ヒラギノ角ゴ Pro W3"/>
        </a:defRPr>
      </a:lvl4pPr>
      <a:lvl5pPr marL="2051050" indent="-25082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ebdings" pitchFamily="18" charset="2"/>
        <a:buChar char="4"/>
        <a:defRPr sz="1400">
          <a:solidFill>
            <a:schemeClr val="tx1"/>
          </a:solidFill>
          <a:latin typeface="+mn-lt"/>
          <a:ea typeface="ヒラギノ角ゴ Pro W3" charset="-128"/>
          <a:cs typeface="ヒラギノ角ゴ Pro W3"/>
        </a:defRPr>
      </a:lvl5pPr>
      <a:lvl6pPr marL="2508250" indent="-228600" algn="l" rtl="0" fontAlgn="base">
        <a:spcBef>
          <a:spcPct val="20000"/>
        </a:spcBef>
        <a:spcAft>
          <a:spcPct val="0"/>
        </a:spcAft>
        <a:buClr>
          <a:srgbClr val="FE6400"/>
        </a:buClr>
        <a:buChar char="•"/>
        <a:defRPr>
          <a:solidFill>
            <a:schemeClr val="tx1"/>
          </a:solidFill>
          <a:latin typeface="+mn-lt"/>
        </a:defRPr>
      </a:lvl6pPr>
      <a:lvl7pPr marL="2965450" indent="-228600" algn="l" rtl="0" fontAlgn="base">
        <a:spcBef>
          <a:spcPct val="20000"/>
        </a:spcBef>
        <a:spcAft>
          <a:spcPct val="0"/>
        </a:spcAft>
        <a:buClr>
          <a:srgbClr val="FE6400"/>
        </a:buClr>
        <a:buChar char="•"/>
        <a:defRPr>
          <a:solidFill>
            <a:schemeClr val="tx1"/>
          </a:solidFill>
          <a:latin typeface="+mn-lt"/>
        </a:defRPr>
      </a:lvl7pPr>
      <a:lvl8pPr marL="3422650" indent="-228600" algn="l" rtl="0" fontAlgn="base">
        <a:spcBef>
          <a:spcPct val="20000"/>
        </a:spcBef>
        <a:spcAft>
          <a:spcPct val="0"/>
        </a:spcAft>
        <a:buClr>
          <a:srgbClr val="FE6400"/>
        </a:buClr>
        <a:buChar char="•"/>
        <a:defRPr>
          <a:solidFill>
            <a:schemeClr val="tx1"/>
          </a:solidFill>
          <a:latin typeface="+mn-lt"/>
        </a:defRPr>
      </a:lvl8pPr>
      <a:lvl9pPr marL="3879850" indent="-228600" algn="l" rtl="0" fontAlgn="base">
        <a:spcBef>
          <a:spcPct val="20000"/>
        </a:spcBef>
        <a:spcAft>
          <a:spcPct val="0"/>
        </a:spcAft>
        <a:buClr>
          <a:srgbClr val="FE6400"/>
        </a:buClr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799">
          <p15:clr>
            <a:srgbClr val="F26B43"/>
          </p15:clr>
        </p15:guide>
        <p15:guide id="4" orient="horz" pos="39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4.xml"/><Relationship Id="rId4" Type="http://schemas.openxmlformats.org/officeDocument/2006/relationships/image" Target="../media/image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kt 41" hidden="1">
            <a:extLst>
              <a:ext uri="{FF2B5EF4-FFF2-40B4-BE49-F238E27FC236}">
                <a16:creationId xmlns:a16="http://schemas.microsoft.com/office/drawing/2014/main" id="{866C6789-1C02-4245-815E-F5AC28E803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2" name="Objekt 41" hidden="1">
                        <a:extLst>
                          <a:ext uri="{FF2B5EF4-FFF2-40B4-BE49-F238E27FC236}">
                            <a16:creationId xmlns:a16="http://schemas.microsoft.com/office/drawing/2014/main" id="{866C6789-1C02-4245-815E-F5AC28E803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9AC2B0D-8D44-45A8-826E-9F7B12C05D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Geometrische Auswertung 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42C8D82C-59C4-4194-AEEA-C60B77E1ACB9}"/>
              </a:ext>
            </a:extLst>
          </p:cNvPr>
          <p:cNvSpPr/>
          <p:nvPr/>
        </p:nvSpPr>
        <p:spPr bwMode="auto">
          <a:xfrm>
            <a:off x="2078908" y="2434121"/>
            <a:ext cx="2520000" cy="323850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Pct val="15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9F77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01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B61BE578-94A7-4478-B2FB-E5326C68F543}"/>
              </a:ext>
            </a:extLst>
          </p:cNvPr>
          <p:cNvCxnSpPr>
            <a:cxnSpLocks/>
          </p:cNvCxnSpPr>
          <p:nvPr/>
        </p:nvCxnSpPr>
        <p:spPr bwMode="auto">
          <a:xfrm>
            <a:off x="2078906" y="2756246"/>
            <a:ext cx="2520000" cy="0"/>
          </a:xfrm>
          <a:prstGeom prst="line">
            <a:avLst/>
          </a:prstGeom>
          <a:ln w="28575"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Rechteck 8">
            <a:extLst>
              <a:ext uri="{FF2B5EF4-FFF2-40B4-BE49-F238E27FC236}">
                <a16:creationId xmlns:a16="http://schemas.microsoft.com/office/drawing/2014/main" id="{D831DAE6-DAA2-4846-A327-F45E84FCA4CA}"/>
              </a:ext>
            </a:extLst>
          </p:cNvPr>
          <p:cNvSpPr/>
          <p:nvPr/>
        </p:nvSpPr>
        <p:spPr bwMode="auto">
          <a:xfrm>
            <a:off x="2078908" y="2798043"/>
            <a:ext cx="2520000" cy="1048937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9F77"/>
              </a:buClr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Z13 vs. Z13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9F77"/>
              </a:buClr>
              <a:buSzPct val="100000"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+ </a:t>
            </a:r>
            <a:r>
              <a:rPr kumimoji="0" lang="da-DK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Erkennung</a:t>
            </a: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 von </a:t>
            </a:r>
            <a:r>
              <a:rPr kumimoji="0" lang="da-DK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unterschieden</a:t>
            </a: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 </a:t>
            </a:r>
            <a:r>
              <a:rPr kumimoji="0" lang="da-DK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zwischen</a:t>
            </a: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 den </a:t>
            </a:r>
            <a:r>
              <a:rPr kumimoji="0" lang="da-DK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Rädern</a:t>
            </a: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9F77"/>
              </a:buClr>
              <a:buSzPct val="100000"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+ </a:t>
            </a:r>
            <a:r>
              <a:rPr kumimoji="0" lang="da-DK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Ausrichtung</a:t>
            </a: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 der </a:t>
            </a:r>
            <a:r>
              <a:rPr kumimoji="0" lang="da-DK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Räder</a:t>
            </a: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 </a:t>
            </a:r>
            <a:r>
              <a:rPr kumimoji="0" lang="da-DK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einfach</a:t>
            </a: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 </a:t>
            </a:r>
            <a:r>
              <a:rPr kumimoji="0" lang="da-DK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möglich</a:t>
            </a: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ヒラギノ角ゴ Pro W3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9F77"/>
              </a:buClr>
              <a:buSzPct val="100000"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- </a:t>
            </a:r>
            <a:r>
              <a:rPr kumimoji="0" lang="da-DK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Kein</a:t>
            </a: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 </a:t>
            </a:r>
            <a:r>
              <a:rPr kumimoji="0" lang="da-DK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Zusammenhang</a:t>
            </a: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 </a:t>
            </a:r>
            <a:r>
              <a:rPr kumimoji="0" lang="da-DK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zu</a:t>
            </a: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 Z19 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ヒラギノ角ゴ Pro W3"/>
            </a:endParaRP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4562F2DE-0716-416A-83D5-DBADD76A39F2}"/>
              </a:ext>
            </a:extLst>
          </p:cNvPr>
          <p:cNvCxnSpPr>
            <a:cxnSpLocks/>
          </p:cNvCxnSpPr>
          <p:nvPr/>
        </p:nvCxnSpPr>
        <p:spPr bwMode="auto">
          <a:xfrm>
            <a:off x="2078904" y="4315653"/>
            <a:ext cx="2520000" cy="0"/>
          </a:xfrm>
          <a:prstGeom prst="line">
            <a:avLst/>
          </a:prstGeom>
          <a:ln w="12700">
            <a:prstDash val="sysDot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1" name="Rechteck 40">
            <a:extLst>
              <a:ext uri="{FF2B5EF4-FFF2-40B4-BE49-F238E27FC236}">
                <a16:creationId xmlns:a16="http://schemas.microsoft.com/office/drawing/2014/main" id="{472F4BDB-E7D2-4164-A4ED-61F3CB79FB19}"/>
              </a:ext>
            </a:extLst>
          </p:cNvPr>
          <p:cNvSpPr/>
          <p:nvPr/>
        </p:nvSpPr>
        <p:spPr bwMode="auto">
          <a:xfrm>
            <a:off x="2078904" y="4315653"/>
            <a:ext cx="2520000" cy="50537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9F77"/>
              </a:buClr>
              <a:buSzPct val="100000"/>
              <a:buFontTx/>
              <a:buNone/>
              <a:tabLst/>
              <a:defRPr/>
            </a:pP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Korrelationen </a:t>
            </a:r>
            <a:r>
              <a:rPr kumimoji="0" lang="da-DK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können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 </a:t>
            </a:r>
            <a:r>
              <a:rPr kumimoji="0" lang="da-DK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auf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 die </a:t>
            </a:r>
            <a:r>
              <a:rPr kumimoji="0" lang="da-DK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unterschiedene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 </a:t>
            </a:r>
            <a:r>
              <a:rPr kumimoji="0" lang="da-DK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zwischen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 den </a:t>
            </a:r>
            <a:r>
              <a:rPr kumimoji="0" lang="da-DK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Rädern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 </a:t>
            </a:r>
            <a:r>
              <a:rPr kumimoji="0" lang="da-DK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zurückgeführt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 </a:t>
            </a:r>
            <a:r>
              <a:rPr kumimoji="0" lang="da-DK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werden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 – </a:t>
            </a:r>
            <a:r>
              <a:rPr kumimoji="0" lang="da-DK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nicht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 </a:t>
            </a:r>
            <a:r>
              <a:rPr kumimoji="0" lang="da-DK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alleinstehend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 </a:t>
            </a:r>
            <a:r>
              <a:rPr kumimoji="0" lang="da-DK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möglich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rPr>
              <a:t> 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ヒラギノ角ゴ Pro W3"/>
            </a:endParaRPr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8EB9928C-1B44-4F39-9AF8-ED850C969090}"/>
              </a:ext>
            </a:extLst>
          </p:cNvPr>
          <p:cNvGrpSpPr/>
          <p:nvPr/>
        </p:nvGrpSpPr>
        <p:grpSpPr>
          <a:xfrm>
            <a:off x="4834806" y="2434121"/>
            <a:ext cx="2520002" cy="2386910"/>
            <a:chOff x="1158667" y="2016140"/>
            <a:chExt cx="2520002" cy="2386910"/>
          </a:xfrm>
        </p:grpSpPr>
        <p:sp>
          <p:nvSpPr>
            <p:cNvPr id="44" name="Rechteck 43">
              <a:extLst>
                <a:ext uri="{FF2B5EF4-FFF2-40B4-BE49-F238E27FC236}">
                  <a16:creationId xmlns:a16="http://schemas.microsoft.com/office/drawing/2014/main" id="{A2868C77-2C32-4392-80FE-5D3635883C81}"/>
                </a:ext>
              </a:extLst>
            </p:cNvPr>
            <p:cNvSpPr/>
            <p:nvPr/>
          </p:nvSpPr>
          <p:spPr bwMode="auto">
            <a:xfrm>
              <a:off x="1158669" y="2016140"/>
              <a:ext cx="2520000" cy="323850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FFFFF"/>
                </a:buClr>
                <a:buSzPct val="150000"/>
                <a:buFontTx/>
                <a:buNone/>
                <a:tabLst/>
                <a:defRPr/>
              </a:pPr>
              <a:r>
                <a: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9F77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02</a:t>
              </a:r>
            </a:p>
          </p:txBody>
        </p:sp>
        <p:cxnSp>
          <p:nvCxnSpPr>
            <p:cNvPr id="45" name="Gerader Verbinder 44">
              <a:extLst>
                <a:ext uri="{FF2B5EF4-FFF2-40B4-BE49-F238E27FC236}">
                  <a16:creationId xmlns:a16="http://schemas.microsoft.com/office/drawing/2014/main" id="{C4B6FAFA-55D7-46FC-A45A-EED95853548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158667" y="2338265"/>
              <a:ext cx="2520000" cy="0"/>
            </a:xfrm>
            <a:prstGeom prst="line">
              <a:avLst/>
            </a:prstGeom>
            <a:ln w="28575"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22539798-734B-4856-9E23-4AE568D9C40B}"/>
                </a:ext>
              </a:extLst>
            </p:cNvPr>
            <p:cNvSpPr/>
            <p:nvPr/>
          </p:nvSpPr>
          <p:spPr bwMode="auto">
            <a:xfrm>
              <a:off x="1158669" y="2380062"/>
              <a:ext cx="2520000" cy="1048937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009F77"/>
                </a:buClr>
                <a:buSzPct val="100000"/>
                <a:buFontTx/>
                <a:buNone/>
                <a:tabLst/>
                <a:defRPr/>
              </a:pPr>
              <a:r>
                <a: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Z13 vs. Meisterrad Z13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009F77"/>
                </a:buClr>
                <a:buSzPct val="100000"/>
                <a:buFontTx/>
                <a:buNone/>
                <a:tabLst/>
                <a:defRPr/>
              </a:pPr>
              <a:r>
                <a:rPr kumimoji="0" lang="da-DK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+ Konkrete </a:t>
              </a:r>
              <a:r>
                <a:rPr kumimoji="0" lang="da-DK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Abweichung</a:t>
              </a:r>
              <a:r>
                <a:rPr kumimoji="0" lang="da-DK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 </a:t>
              </a:r>
              <a:r>
                <a:rPr kumimoji="0" lang="da-DK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zwischen</a:t>
              </a:r>
              <a:r>
                <a:rPr kumimoji="0" lang="da-DK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 Soll/</a:t>
              </a:r>
              <a:r>
                <a:rPr kumimoji="0" lang="da-DK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Haben</a:t>
              </a:r>
              <a:r>
                <a:rPr kumimoji="0" lang="da-DK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 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009F77"/>
                </a:buClr>
                <a:buSzPct val="100000"/>
                <a:buFontTx/>
                <a:buNone/>
                <a:tabLst/>
                <a:defRPr/>
              </a:pPr>
              <a:r>
                <a:rPr kumimoji="0" lang="da-DK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+ </a:t>
              </a:r>
              <a:r>
                <a:rPr kumimoji="0" lang="da-DK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Ausrichtung</a:t>
              </a:r>
              <a:r>
                <a:rPr kumimoji="0" lang="da-DK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 der </a:t>
              </a:r>
              <a:r>
                <a:rPr kumimoji="0" lang="da-DK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Räder</a:t>
              </a:r>
              <a:r>
                <a:rPr kumimoji="0" lang="da-DK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 </a:t>
              </a:r>
              <a:r>
                <a:rPr kumimoji="0" lang="da-DK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einfach</a:t>
              </a:r>
              <a:r>
                <a:rPr kumimoji="0" lang="da-DK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 </a:t>
              </a:r>
              <a:r>
                <a:rPr kumimoji="0" lang="da-DK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möglich</a:t>
              </a:r>
              <a:r>
                <a:rPr kumimoji="0" lang="da-DK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 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009F77"/>
                </a:buClr>
                <a:buSzPct val="100000"/>
                <a:buFontTx/>
                <a:buNone/>
                <a:tabLst/>
                <a:defRPr/>
              </a:pPr>
              <a:r>
                <a:rPr kumimoji="0" lang="da-DK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- </a:t>
              </a:r>
              <a:r>
                <a:rPr kumimoji="0" lang="da-DK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Kein</a:t>
              </a:r>
              <a:r>
                <a:rPr kumimoji="0" lang="da-DK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 </a:t>
              </a:r>
              <a:r>
                <a:rPr kumimoji="0" lang="da-DK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Zusammenhang</a:t>
              </a:r>
              <a:r>
                <a:rPr kumimoji="0" lang="da-DK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 </a:t>
              </a:r>
              <a:r>
                <a:rPr kumimoji="0" lang="da-DK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zu</a:t>
              </a:r>
              <a:r>
                <a:rPr kumimoji="0" lang="da-DK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 Z19</a:t>
              </a:r>
              <a:endPara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endParaRPr>
            </a:p>
          </p:txBody>
        </p:sp>
        <p:cxnSp>
          <p:nvCxnSpPr>
            <p:cNvPr id="47" name="Gerader Verbinder 46">
              <a:extLst>
                <a:ext uri="{FF2B5EF4-FFF2-40B4-BE49-F238E27FC236}">
                  <a16:creationId xmlns:a16="http://schemas.microsoft.com/office/drawing/2014/main" id="{5C129B32-BE72-44D8-BFE3-DEDFFCC8110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158667" y="3897672"/>
              <a:ext cx="2520000" cy="0"/>
            </a:xfrm>
            <a:prstGeom prst="line">
              <a:avLst/>
            </a:prstGeom>
            <a:ln w="12700">
              <a:prstDash val="sysDot"/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C9032707-361A-4543-9B96-A5BD0D077BFE}"/>
                </a:ext>
              </a:extLst>
            </p:cNvPr>
            <p:cNvSpPr/>
            <p:nvPr/>
          </p:nvSpPr>
          <p:spPr bwMode="auto">
            <a:xfrm>
              <a:off x="1158667" y="3897672"/>
              <a:ext cx="2520000" cy="505378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009F77"/>
                </a:buClr>
                <a:buSzPct val="100000"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Erkennung von geometrischen Unterschieden einfach möglich. Freischneiden des Meisterrads möglich um Zahnräder einfach ausrichten zu können – noch unklar</a:t>
              </a:r>
            </a:p>
          </p:txBody>
        </p:sp>
      </p:grp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A0552945-CA22-4886-BEEF-F79B05D503A9}"/>
              </a:ext>
            </a:extLst>
          </p:cNvPr>
          <p:cNvGrpSpPr/>
          <p:nvPr/>
        </p:nvGrpSpPr>
        <p:grpSpPr>
          <a:xfrm>
            <a:off x="7590706" y="2434121"/>
            <a:ext cx="2520002" cy="2386910"/>
            <a:chOff x="1158667" y="2016140"/>
            <a:chExt cx="2520002" cy="2386910"/>
          </a:xfrm>
        </p:grpSpPr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EFEE6E86-6DD9-46BB-B1F7-BEBA58C85078}"/>
                </a:ext>
              </a:extLst>
            </p:cNvPr>
            <p:cNvSpPr/>
            <p:nvPr/>
          </p:nvSpPr>
          <p:spPr bwMode="auto">
            <a:xfrm>
              <a:off x="1158669" y="2016140"/>
              <a:ext cx="2520000" cy="323850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FFFFF"/>
                </a:buClr>
                <a:buSzPct val="150000"/>
                <a:buFontTx/>
                <a:buNone/>
                <a:tabLst/>
                <a:defRPr/>
              </a:pPr>
              <a:r>
                <a: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9F77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03</a:t>
              </a:r>
            </a:p>
          </p:txBody>
        </p:sp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3529AE73-B009-4A63-AE61-8B14C8EF956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158667" y="2338265"/>
              <a:ext cx="2520000" cy="0"/>
            </a:xfrm>
            <a:prstGeom prst="line">
              <a:avLst/>
            </a:prstGeom>
            <a:ln w="28575"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3BC6C62C-285A-4E6D-A99C-DA23A7300485}"/>
                </a:ext>
              </a:extLst>
            </p:cNvPr>
            <p:cNvSpPr/>
            <p:nvPr/>
          </p:nvSpPr>
          <p:spPr bwMode="auto">
            <a:xfrm>
              <a:off x="1158669" y="2380062"/>
              <a:ext cx="2520000" cy="1048937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009F77"/>
                </a:buClr>
                <a:buSzPct val="100000"/>
                <a:buFontTx/>
                <a:buNone/>
                <a:tabLst/>
                <a:defRPr/>
              </a:pPr>
              <a:r>
                <a: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Z13 vs. Z19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009F77"/>
                </a:buClr>
                <a:buSzPct val="100000"/>
                <a:buFontTx/>
                <a:buNone/>
                <a:tabLst/>
                <a:defRPr/>
              </a:pPr>
              <a:r>
                <a:rPr kumimoji="0" lang="da-DK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+ Korrelation </a:t>
              </a:r>
              <a:r>
                <a:rPr kumimoji="0" lang="da-DK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zwischen</a:t>
              </a:r>
              <a:r>
                <a:rPr kumimoji="0" lang="da-DK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 </a:t>
              </a:r>
              <a:r>
                <a:rPr kumimoji="0" lang="da-DK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geometrischen</a:t>
              </a:r>
              <a:r>
                <a:rPr kumimoji="0" lang="da-DK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 Daten und </a:t>
              </a:r>
              <a:r>
                <a:rPr kumimoji="0" lang="da-DK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Messdaten</a:t>
              </a:r>
              <a:r>
                <a:rPr kumimoji="0" lang="da-DK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 an Franco </a:t>
              </a:r>
              <a:r>
                <a:rPr kumimoji="0" lang="da-DK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möglich</a:t>
              </a:r>
              <a:br>
                <a:rPr kumimoji="0" lang="da-DK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</a:br>
              <a:r>
                <a:rPr kumimoji="0" lang="da-DK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+ </a:t>
              </a:r>
              <a:r>
                <a:rPr kumimoji="0" lang="da-DK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Erkennung</a:t>
              </a:r>
              <a:r>
                <a:rPr kumimoji="0" lang="da-DK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 von </a:t>
              </a:r>
              <a:r>
                <a:rPr kumimoji="0" lang="da-DK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Zusammenhängen</a:t>
              </a:r>
              <a:endPara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009F77"/>
                </a:buClr>
                <a:buSzPct val="100000"/>
                <a:buFontTx/>
                <a:buNone/>
                <a:tabLst/>
                <a:defRPr/>
              </a:pPr>
              <a:r>
                <a:rPr kumimoji="0" lang="da-DK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- </a:t>
              </a:r>
              <a:r>
                <a:rPr kumimoji="0" lang="da-DK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Ausrichtung</a:t>
              </a:r>
              <a:r>
                <a:rPr kumimoji="0" lang="da-DK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 und </a:t>
              </a:r>
              <a:r>
                <a:rPr kumimoji="0" lang="da-DK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Messpunkte</a:t>
              </a:r>
              <a:r>
                <a:rPr kumimoji="0" lang="da-DK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 sind </a:t>
              </a:r>
              <a:r>
                <a:rPr kumimoji="0" lang="da-DK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erst</a:t>
              </a:r>
              <a:r>
                <a:rPr kumimoji="0" lang="da-DK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 </a:t>
              </a:r>
              <a:r>
                <a:rPr kumimoji="0" lang="da-DK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zu</a:t>
              </a:r>
              <a:r>
                <a:rPr kumimoji="0" lang="da-DK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 </a:t>
              </a:r>
              <a:r>
                <a:rPr kumimoji="0" lang="da-DK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wählen</a:t>
              </a:r>
              <a:r>
                <a:rPr kumimoji="0" lang="da-DK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 </a:t>
              </a:r>
              <a:endPara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/>
              </a:endParaRPr>
            </a:p>
          </p:txBody>
        </p:sp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991D4D85-EDFA-44F5-B36D-12F943CA252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158667" y="3897672"/>
              <a:ext cx="2520000" cy="0"/>
            </a:xfrm>
            <a:prstGeom prst="line">
              <a:avLst/>
            </a:prstGeom>
            <a:ln w="12700">
              <a:prstDash val="sysDot"/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3BF908BB-2029-4211-B16B-DD03AD043525}"/>
                </a:ext>
              </a:extLst>
            </p:cNvPr>
            <p:cNvSpPr/>
            <p:nvPr/>
          </p:nvSpPr>
          <p:spPr bwMode="auto">
            <a:xfrm>
              <a:off x="1158667" y="3897672"/>
              <a:ext cx="2520000" cy="505378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009F77"/>
                </a:buClr>
                <a:buSzPct val="100000"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Einlesung</a:t>
              </a: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 der Räder möglich allerdings müssen genaue Ausrichtungsparameter gewählt werden. 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009F77"/>
                </a:buClr>
                <a:buSzPct val="100000"/>
                <a:buFontTx/>
                <a:buNone/>
                <a:tabLst/>
                <a:defRPr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ヒラギノ角ゴ Pro W3"/>
                </a:rPr>
                <a:t>Messpunkte müssen noch bestimmt werden – Zahnlänge, Krümmung usw. </a:t>
              </a: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A49417A4-2DC6-016D-4933-111ECF2A539E}"/>
              </a:ext>
            </a:extLst>
          </p:cNvPr>
          <p:cNvSpPr txBox="1"/>
          <p:nvPr/>
        </p:nvSpPr>
        <p:spPr bwMode="auto">
          <a:xfrm>
            <a:off x="11196858" y="6570358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52000" marR="0" lvl="0" indent="-180000" algn="l" defTabSz="0" rtl="0" eaLnBrk="0" fontAlgn="base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de-DE" sz="14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9F7CDAC-9694-350E-8511-2EC35B7649BD}"/>
              </a:ext>
            </a:extLst>
          </p:cNvPr>
          <p:cNvSpPr/>
          <p:nvPr/>
        </p:nvSpPr>
        <p:spPr bwMode="auto">
          <a:xfrm>
            <a:off x="10639740" y="6449245"/>
            <a:ext cx="1320128" cy="327004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Pct val="150000"/>
              <a:buFont typeface="Wingdings" pitchFamily="2" charset="2"/>
              <a:buChar char="§"/>
              <a:tabLst/>
              <a:defRPr/>
            </a:pP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512931468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02_fuks_Folienmaster_2022">
  <a:themeElements>
    <a:clrScheme name="Custom 1">
      <a:dk1>
        <a:srgbClr val="000000"/>
      </a:dk1>
      <a:lt1>
        <a:srgbClr val="FFFFFF"/>
      </a:lt1>
      <a:dk2>
        <a:srgbClr val="455F51"/>
      </a:dk2>
      <a:lt2>
        <a:srgbClr val="E3DED1"/>
      </a:lt2>
      <a:accent1>
        <a:srgbClr val="009F77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6B9F25"/>
      </a:hlink>
      <a:folHlink>
        <a:srgbClr val="BA6906"/>
      </a:folHlink>
    </a:clrScheme>
    <a:fontScheme name="060108_Richtlinie_Präsent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90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bg1"/>
          </a:buClr>
          <a:buSzPct val="150000"/>
          <a:buFont typeface="Wingdings" pitchFamily="2" charset="2"/>
          <a:buChar char="§"/>
          <a:tabLst/>
          <a:defRPr kumimoji="0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>
          <a:outerShdw dist="35921" dir="2700000" algn="ctr" rotWithShape="0">
            <a:schemeClr val="bg2"/>
          </a:outerShdw>
        </a:effec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bg1"/>
          </a:buClr>
          <a:buSzPct val="150000"/>
          <a:buFont typeface="Wingdings" pitchFamily="2" charset="2"/>
          <a:buChar char="§"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  <a:txDef>
      <a:spPr bwMode="auto">
        <a:noFill/>
        <a:ln w="9525">
          <a:noFill/>
          <a:miter lim="800000"/>
          <a:headEnd/>
          <a:tailEnd/>
        </a:ln>
      </a:spPr>
      <a:bodyPr vert="horz" wrap="square" lIns="0" tIns="36000" rIns="0" bIns="36000" numCol="1" rtlCol="0" anchor="t" anchorCtr="0" compatLnSpc="1">
        <a:prstTxWarp prst="textNoShape">
          <a:avLst/>
        </a:prstTxWarp>
        <a:noAutofit/>
      </a:bodyPr>
      <a:lstStyle>
        <a:defPPr marL="252000" indent="-180000" defTabSz="0" eaLnBrk="0" hangingPunct="0">
          <a:spcBef>
            <a:spcPts val="200"/>
          </a:spcBef>
          <a:spcAft>
            <a:spcPts val="200"/>
          </a:spcAft>
          <a:buClr>
            <a:srgbClr val="FE6400"/>
          </a:buClr>
          <a:buFont typeface="Wingdings" pitchFamily="2" charset="2"/>
          <a:buChar char="§"/>
          <a:defRPr sz="1400" dirty="0" err="1" smtClean="0">
            <a:latin typeface="+mn-lt"/>
            <a:ea typeface="ヒラギノ角ゴ Pro W3" charset="-128"/>
            <a:cs typeface="ヒラギノ角ゴ Pro W3" charset="-128"/>
          </a:defRPr>
        </a:defPPr>
      </a:lstStyle>
    </a:txDef>
  </a:objectDefaults>
  <a:extraClrSchemeLst>
    <a:extraClrScheme>
      <a:clrScheme name="060108_Richtlinie_Präsentatio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60108_Richtlinie_Präsentatio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8">
        <a:dk1>
          <a:srgbClr val="000000"/>
        </a:dk1>
        <a:lt1>
          <a:srgbClr val="EAEAEA"/>
        </a:lt1>
        <a:dk2>
          <a:srgbClr val="F8F8F8"/>
        </a:dk2>
        <a:lt2>
          <a:srgbClr val="808080"/>
        </a:lt2>
        <a:accent1>
          <a:srgbClr val="FFFFCC"/>
        </a:accent1>
        <a:accent2>
          <a:srgbClr val="6699FF"/>
        </a:accent2>
        <a:accent3>
          <a:srgbClr val="F3F3F3"/>
        </a:accent3>
        <a:accent4>
          <a:srgbClr val="000000"/>
        </a:accent4>
        <a:accent5>
          <a:srgbClr val="FFFFE2"/>
        </a:accent5>
        <a:accent6>
          <a:srgbClr val="5C8AE7"/>
        </a:accent6>
        <a:hlink>
          <a:srgbClr val="00CC00"/>
        </a:hlink>
        <a:folHlink>
          <a:srgbClr val="FFF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9">
        <a:dk1>
          <a:srgbClr val="000000"/>
        </a:dk1>
        <a:lt1>
          <a:srgbClr val="EAEAEA"/>
        </a:lt1>
        <a:dk2>
          <a:srgbClr val="F8F8F8"/>
        </a:dk2>
        <a:lt2>
          <a:srgbClr val="3399FF"/>
        </a:lt2>
        <a:accent1>
          <a:srgbClr val="FFFFCC"/>
        </a:accent1>
        <a:accent2>
          <a:srgbClr val="00CC00"/>
        </a:accent2>
        <a:accent3>
          <a:srgbClr val="F3F3F3"/>
        </a:accent3>
        <a:accent4>
          <a:srgbClr val="000000"/>
        </a:accent4>
        <a:accent5>
          <a:srgbClr val="FFFFE2"/>
        </a:accent5>
        <a:accent6>
          <a:srgbClr val="00B900"/>
        </a:accent6>
        <a:hlink>
          <a:srgbClr val="FFFF00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10">
        <a:dk1>
          <a:srgbClr val="000000"/>
        </a:dk1>
        <a:lt1>
          <a:srgbClr val="EAEAEA"/>
        </a:lt1>
        <a:dk2>
          <a:srgbClr val="F8F8F8"/>
        </a:dk2>
        <a:lt2>
          <a:srgbClr val="808080"/>
        </a:lt2>
        <a:accent1>
          <a:srgbClr val="FFFFCC"/>
        </a:accent1>
        <a:accent2>
          <a:srgbClr val="00CC00"/>
        </a:accent2>
        <a:accent3>
          <a:srgbClr val="F3F3F3"/>
        </a:accent3>
        <a:accent4>
          <a:srgbClr val="000000"/>
        </a:accent4>
        <a:accent5>
          <a:srgbClr val="FFFFE2"/>
        </a:accent5>
        <a:accent6>
          <a:srgbClr val="00B900"/>
        </a:accent6>
        <a:hlink>
          <a:srgbClr val="FFFF00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11">
        <a:dk1>
          <a:srgbClr val="000000"/>
        </a:dk1>
        <a:lt1>
          <a:srgbClr val="EAEAEA"/>
        </a:lt1>
        <a:dk2>
          <a:srgbClr val="F8F8F8"/>
        </a:dk2>
        <a:lt2>
          <a:srgbClr val="808080"/>
        </a:lt2>
        <a:accent1>
          <a:srgbClr val="0099FF"/>
        </a:accent1>
        <a:accent2>
          <a:srgbClr val="00CC00"/>
        </a:accent2>
        <a:accent3>
          <a:srgbClr val="F3F3F3"/>
        </a:accent3>
        <a:accent4>
          <a:srgbClr val="000000"/>
        </a:accent4>
        <a:accent5>
          <a:srgbClr val="AACAFF"/>
        </a:accent5>
        <a:accent6>
          <a:srgbClr val="00B900"/>
        </a:accent6>
        <a:hlink>
          <a:srgbClr val="FFFF00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12">
        <a:dk1>
          <a:srgbClr val="000000"/>
        </a:dk1>
        <a:lt1>
          <a:srgbClr val="EAEAEA"/>
        </a:lt1>
        <a:dk2>
          <a:srgbClr val="080808"/>
        </a:dk2>
        <a:lt2>
          <a:srgbClr val="808080"/>
        </a:lt2>
        <a:accent1>
          <a:srgbClr val="000099"/>
        </a:accent1>
        <a:accent2>
          <a:srgbClr val="00CC00"/>
        </a:accent2>
        <a:accent3>
          <a:srgbClr val="F3F3F3"/>
        </a:accent3>
        <a:accent4>
          <a:srgbClr val="000000"/>
        </a:accent4>
        <a:accent5>
          <a:srgbClr val="AAAACA"/>
        </a:accent5>
        <a:accent6>
          <a:srgbClr val="00B900"/>
        </a:accent6>
        <a:hlink>
          <a:srgbClr val="000099"/>
        </a:hlink>
        <a:folHlink>
          <a:srgbClr val="0000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13">
        <a:dk1>
          <a:srgbClr val="000000"/>
        </a:dk1>
        <a:lt1>
          <a:srgbClr val="EAEAEA"/>
        </a:lt1>
        <a:dk2>
          <a:srgbClr val="080808"/>
        </a:dk2>
        <a:lt2>
          <a:srgbClr val="808080"/>
        </a:lt2>
        <a:accent1>
          <a:srgbClr val="000099"/>
        </a:accent1>
        <a:accent2>
          <a:srgbClr val="FE6400"/>
        </a:accent2>
        <a:accent3>
          <a:srgbClr val="F3F3F3"/>
        </a:accent3>
        <a:accent4>
          <a:srgbClr val="000000"/>
        </a:accent4>
        <a:accent5>
          <a:srgbClr val="AAAACA"/>
        </a:accent5>
        <a:accent6>
          <a:srgbClr val="E65A00"/>
        </a:accent6>
        <a:hlink>
          <a:srgbClr val="000099"/>
        </a:hlink>
        <a:folHlink>
          <a:srgbClr val="0000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14">
        <a:dk1>
          <a:srgbClr val="000000"/>
        </a:dk1>
        <a:lt1>
          <a:srgbClr val="EAEAEA"/>
        </a:lt1>
        <a:dk2>
          <a:srgbClr val="080808"/>
        </a:dk2>
        <a:lt2>
          <a:srgbClr val="808080"/>
        </a:lt2>
        <a:accent1>
          <a:srgbClr val="FE6400"/>
        </a:accent1>
        <a:accent2>
          <a:srgbClr val="FE6400"/>
        </a:accent2>
        <a:accent3>
          <a:srgbClr val="F3F3F3"/>
        </a:accent3>
        <a:accent4>
          <a:srgbClr val="000000"/>
        </a:accent4>
        <a:accent5>
          <a:srgbClr val="FEB8AA"/>
        </a:accent5>
        <a:accent6>
          <a:srgbClr val="E65A00"/>
        </a:accent6>
        <a:hlink>
          <a:srgbClr val="000099"/>
        </a:hlink>
        <a:folHlink>
          <a:srgbClr val="0000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15">
        <a:dk1>
          <a:srgbClr val="000000"/>
        </a:dk1>
        <a:lt1>
          <a:srgbClr val="EAEAEA"/>
        </a:lt1>
        <a:dk2>
          <a:srgbClr val="080808"/>
        </a:dk2>
        <a:lt2>
          <a:srgbClr val="808080"/>
        </a:lt2>
        <a:accent1>
          <a:srgbClr val="FE6400"/>
        </a:accent1>
        <a:accent2>
          <a:srgbClr val="003399"/>
        </a:accent2>
        <a:accent3>
          <a:srgbClr val="F3F3F3"/>
        </a:accent3>
        <a:accent4>
          <a:srgbClr val="000000"/>
        </a:accent4>
        <a:accent5>
          <a:srgbClr val="FEB8AA"/>
        </a:accent5>
        <a:accent6>
          <a:srgbClr val="002D8A"/>
        </a:accent6>
        <a:hlink>
          <a:srgbClr val="003399"/>
        </a:hlink>
        <a:folHlink>
          <a:srgbClr val="0033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16">
        <a:dk1>
          <a:srgbClr val="000000"/>
        </a:dk1>
        <a:lt1>
          <a:srgbClr val="EAEAEA"/>
        </a:lt1>
        <a:dk2>
          <a:srgbClr val="FFFFFF"/>
        </a:dk2>
        <a:lt2>
          <a:srgbClr val="808080"/>
        </a:lt2>
        <a:accent1>
          <a:srgbClr val="FE6400"/>
        </a:accent1>
        <a:accent2>
          <a:srgbClr val="003399"/>
        </a:accent2>
        <a:accent3>
          <a:srgbClr val="F3F3F3"/>
        </a:accent3>
        <a:accent4>
          <a:srgbClr val="000000"/>
        </a:accent4>
        <a:accent5>
          <a:srgbClr val="FEB8AA"/>
        </a:accent5>
        <a:accent6>
          <a:srgbClr val="002D8A"/>
        </a:accent6>
        <a:hlink>
          <a:srgbClr val="003399"/>
        </a:hlink>
        <a:folHlink>
          <a:srgbClr val="0033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133</Words>
  <Application>Microsoft Macintosh PowerPoint</Application>
  <PresentationFormat>Widescreen</PresentationFormat>
  <Paragraphs>1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Webdings</vt:lpstr>
      <vt:lpstr>Wingdings</vt:lpstr>
      <vt:lpstr>02_fuks_Folienmaster_2022</vt:lpstr>
      <vt:lpstr>think-cell Slide</vt:lpstr>
      <vt:lpstr>Geometrische Auswertung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ometrische Auswertung </dc:title>
  <dc:creator>Neumann, Aaron David</dc:creator>
  <cp:lastModifiedBy>Neumann, Aaron David</cp:lastModifiedBy>
  <cp:revision>1</cp:revision>
  <dcterms:created xsi:type="dcterms:W3CDTF">2023-05-12T09:53:37Z</dcterms:created>
  <dcterms:modified xsi:type="dcterms:W3CDTF">2023-05-12T09:56:25Z</dcterms:modified>
</cp:coreProperties>
</file>